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ppt/tags/tag64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48" r:id="rId4"/>
  </p:sldMasterIdLst>
  <p:notesMasterIdLst>
    <p:notesMasterId r:id="rId58"/>
  </p:notesMasterIdLst>
  <p:handoutMasterIdLst>
    <p:handoutMasterId r:id="rId59"/>
  </p:handoutMasterIdLst>
  <p:sldIdLst>
    <p:sldId id="2147478668" r:id="rId5"/>
    <p:sldId id="2147479654" r:id="rId6"/>
    <p:sldId id="2147478670" r:id="rId7"/>
    <p:sldId id="267" r:id="rId8"/>
    <p:sldId id="2147479661" r:id="rId9"/>
    <p:sldId id="2147479662" r:id="rId10"/>
    <p:sldId id="2147479663" r:id="rId11"/>
    <p:sldId id="2147479664" r:id="rId12"/>
    <p:sldId id="305" r:id="rId13"/>
    <p:sldId id="2147479655" r:id="rId14"/>
    <p:sldId id="2147479657" r:id="rId15"/>
    <p:sldId id="259" r:id="rId16"/>
    <p:sldId id="260" r:id="rId17"/>
    <p:sldId id="261" r:id="rId18"/>
    <p:sldId id="262" r:id="rId19"/>
    <p:sldId id="263" r:id="rId20"/>
    <p:sldId id="272" r:id="rId21"/>
    <p:sldId id="264" r:id="rId22"/>
    <p:sldId id="265" r:id="rId23"/>
    <p:sldId id="266" r:id="rId24"/>
    <p:sldId id="2147479658" r:id="rId25"/>
    <p:sldId id="2147479659" r:id="rId26"/>
    <p:sldId id="269" r:id="rId27"/>
    <p:sldId id="270" r:id="rId28"/>
    <p:sldId id="306" r:id="rId29"/>
    <p:sldId id="304" r:id="rId30"/>
    <p:sldId id="271" r:id="rId31"/>
    <p:sldId id="2147375359" r:id="rId32"/>
    <p:sldId id="2147375595" r:id="rId33"/>
    <p:sldId id="2147479653" r:id="rId34"/>
    <p:sldId id="2147479640" r:id="rId35"/>
    <p:sldId id="558" r:id="rId36"/>
    <p:sldId id="559" r:id="rId37"/>
    <p:sldId id="560" r:id="rId38"/>
    <p:sldId id="2147479575" r:id="rId39"/>
    <p:sldId id="2147479641" r:id="rId40"/>
    <p:sldId id="2147479650" r:id="rId41"/>
    <p:sldId id="257" r:id="rId42"/>
    <p:sldId id="549" r:id="rId43"/>
    <p:sldId id="538" r:id="rId44"/>
    <p:sldId id="557" r:id="rId45"/>
    <p:sldId id="2147479642" r:id="rId46"/>
    <p:sldId id="562" r:id="rId47"/>
    <p:sldId id="556" r:id="rId48"/>
    <p:sldId id="563" r:id="rId49"/>
    <p:sldId id="564" r:id="rId50"/>
    <p:sldId id="566" r:id="rId51"/>
    <p:sldId id="568" r:id="rId52"/>
    <p:sldId id="567" r:id="rId53"/>
    <p:sldId id="565" r:id="rId54"/>
    <p:sldId id="550" r:id="rId55"/>
    <p:sldId id="573" r:id="rId56"/>
    <p:sldId id="268" r:id="rId57"/>
  </p:sldIdLst>
  <p:sldSz cx="10160000" cy="5715000"/>
  <p:notesSz cx="6797675" cy="9926638"/>
  <p:custDataLst>
    <p:tags r:id="rId6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56C16DB1-684D-7211-1CD9-7FC2C7E6B9CB}" name="Marco Verzijl" initials="MV" userId="S::m.verzijl@marthaflora.nl::4a299ced-01b0-4f07-8f6d-00162cee1823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B917B"/>
    <a:srgbClr val="F2F2F2"/>
    <a:srgbClr val="E2D58B"/>
    <a:srgbClr val="E9EDF1"/>
    <a:srgbClr val="FFFFFF"/>
    <a:srgbClr val="F9F9F9"/>
    <a:srgbClr val="23282F"/>
    <a:srgbClr val="007A33"/>
    <a:srgbClr val="00C856"/>
    <a:srgbClr val="00B44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E49BC91-A211-6552-EC92-3DE49ED5ADAF}" v="12" dt="2024-07-08T10:50:58.42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127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63" Type="http://schemas.openxmlformats.org/officeDocument/2006/relationships/theme" Target="theme/theme1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notesMaster" Target="notesMasters/notesMaster1.xml"/><Relationship Id="rId66" Type="http://schemas.microsoft.com/office/2018/10/relationships/authors" Target="authors.xml"/><Relationship Id="rId5" Type="http://schemas.openxmlformats.org/officeDocument/2006/relationships/slide" Target="slides/slide1.xml"/><Relationship Id="rId61" Type="http://schemas.openxmlformats.org/officeDocument/2006/relationships/presProps" Target="presProps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64" Type="http://schemas.openxmlformats.org/officeDocument/2006/relationships/tableStyles" Target="tableStyles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handoutMaster" Target="handoutMasters/handoutMaster1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tags" Target="tags/tag1.xml"/><Relationship Id="rId65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9" Type="http://schemas.openxmlformats.org/officeDocument/2006/relationships/slide" Target="slides/slide35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64F313C-D939-4C49-8817-6F8C1FB3C77C}" type="doc">
      <dgm:prSet loTypeId="urn:microsoft.com/office/officeart/2005/8/layout/process3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34024423-BE9B-2C4C-A367-5791B1BA048C}">
      <dgm:prSet phldrT="[Text]" custT="1"/>
      <dgm:spPr/>
      <dgm:t>
        <a:bodyPr/>
        <a:lstStyle/>
        <a:p>
          <a:pPr algn="l">
            <a:buFont typeface="Arial" panose="020B0604020202020204" pitchFamily="34" charset="0"/>
            <a:buChar char="•"/>
          </a:pPr>
          <a:r>
            <a:rPr lang="en-GB" sz="1200"/>
            <a:t>Semi-automated</a:t>
          </a:r>
        </a:p>
      </dgm:t>
    </dgm:pt>
    <dgm:pt modelId="{FE2AF724-F344-9D46-BD11-FB054D639B6A}" type="parTrans" cxnId="{EAA0695D-B91A-7547-B023-C3C7C978A1BF}">
      <dgm:prSet/>
      <dgm:spPr/>
      <dgm:t>
        <a:bodyPr/>
        <a:lstStyle/>
        <a:p>
          <a:endParaRPr lang="en-GB" sz="1200"/>
        </a:p>
      </dgm:t>
    </dgm:pt>
    <dgm:pt modelId="{ED796BD1-0B91-8648-944F-83712FEB55B6}" type="sibTrans" cxnId="{EAA0695D-B91A-7547-B023-C3C7C978A1BF}">
      <dgm:prSet/>
      <dgm:spPr/>
      <dgm:t>
        <a:bodyPr/>
        <a:lstStyle/>
        <a:p>
          <a:endParaRPr lang="en-GB" sz="1200"/>
        </a:p>
      </dgm:t>
    </dgm:pt>
    <dgm:pt modelId="{466267B6-245B-4644-A0F0-3CBF0D1612A9}">
      <dgm:prSet phldrT="[Text]" custT="1"/>
      <dgm:spPr/>
      <dgm:t>
        <a:bodyPr/>
        <a:lstStyle/>
        <a:p>
          <a:r>
            <a:rPr lang="en-GB" sz="1200"/>
            <a:t>Ontology Alignment</a:t>
          </a:r>
        </a:p>
      </dgm:t>
    </dgm:pt>
    <dgm:pt modelId="{9AB52E50-D12A-3446-AA3D-6E75818B757A}" type="parTrans" cxnId="{2A91AEEF-55FA-C74E-9308-80ECC6A4CF95}">
      <dgm:prSet/>
      <dgm:spPr/>
      <dgm:t>
        <a:bodyPr/>
        <a:lstStyle/>
        <a:p>
          <a:endParaRPr lang="en-GB" sz="1200"/>
        </a:p>
      </dgm:t>
    </dgm:pt>
    <dgm:pt modelId="{798957A4-1A30-3E4C-9E29-8FB1CA67F6F6}" type="sibTrans" cxnId="{2A91AEEF-55FA-C74E-9308-80ECC6A4CF95}">
      <dgm:prSet custT="1"/>
      <dgm:spPr/>
      <dgm:t>
        <a:bodyPr/>
        <a:lstStyle/>
        <a:p>
          <a:endParaRPr lang="en-GB" sz="1200"/>
        </a:p>
      </dgm:t>
    </dgm:pt>
    <dgm:pt modelId="{671A5C0E-3A36-9642-B5CA-EF1951A4684E}">
      <dgm:prSet phldrT="[Text]" custT="1"/>
      <dgm:spPr/>
      <dgm:t>
        <a:bodyPr/>
        <a:lstStyle/>
        <a:p>
          <a:pPr rtl="0"/>
          <a:r>
            <a:rPr lang="en-GB" sz="1200">
              <a:latin typeface="Nunito Sans SemiBold"/>
            </a:rPr>
            <a:t> </a:t>
          </a:r>
          <a:r>
            <a:rPr lang="en-GB" sz="1200"/>
            <a:t>Mapping data to </a:t>
          </a:r>
          <a:r>
            <a:rPr lang="en-GB" sz="1200" err="1"/>
            <a:t>RePlanIT</a:t>
          </a:r>
          <a:r>
            <a:rPr lang="en-GB" sz="1200"/>
            <a:t> ontology</a:t>
          </a:r>
          <a:r>
            <a:rPr lang="en-GB" sz="1200">
              <a:latin typeface="Nunito Sans SemiBold"/>
            </a:rPr>
            <a:t> </a:t>
          </a:r>
        </a:p>
      </dgm:t>
    </dgm:pt>
    <dgm:pt modelId="{8A0CB192-DA1C-2E48-B14F-F1612809ECD8}" type="parTrans" cxnId="{4C6250A0-26CA-9549-A038-B82BB630D737}">
      <dgm:prSet/>
      <dgm:spPr/>
      <dgm:t>
        <a:bodyPr/>
        <a:lstStyle/>
        <a:p>
          <a:endParaRPr lang="en-GB" sz="1200"/>
        </a:p>
      </dgm:t>
    </dgm:pt>
    <dgm:pt modelId="{90043008-CC09-4149-BB60-1927FEC78648}" type="sibTrans" cxnId="{4C6250A0-26CA-9549-A038-B82BB630D737}">
      <dgm:prSet/>
      <dgm:spPr/>
      <dgm:t>
        <a:bodyPr/>
        <a:lstStyle/>
        <a:p>
          <a:endParaRPr lang="en-GB" sz="1200"/>
        </a:p>
      </dgm:t>
    </dgm:pt>
    <dgm:pt modelId="{E2E35B3F-3F2E-1F40-8009-A8CE383D0A22}">
      <dgm:prSet custT="1"/>
      <dgm:spPr/>
      <dgm:t>
        <a:bodyPr/>
        <a:lstStyle/>
        <a:p>
          <a:r>
            <a:rPr lang="en-GB" sz="1200">
              <a:solidFill>
                <a:schemeClr val="bg1"/>
              </a:solidFill>
            </a:rPr>
            <a:t>DPP Knowledge Graph Generation </a:t>
          </a:r>
        </a:p>
      </dgm:t>
    </dgm:pt>
    <dgm:pt modelId="{E6AC29B7-A12E-FC4F-8746-F50D0473CDAB}" type="parTrans" cxnId="{9F55A290-A3F2-AC46-BD9A-2273AF6F83EB}">
      <dgm:prSet/>
      <dgm:spPr/>
      <dgm:t>
        <a:bodyPr/>
        <a:lstStyle/>
        <a:p>
          <a:endParaRPr lang="en-GB" sz="1200"/>
        </a:p>
      </dgm:t>
    </dgm:pt>
    <dgm:pt modelId="{E035A597-5254-F34E-918B-E86A8882CFD3}" type="sibTrans" cxnId="{9F55A290-A3F2-AC46-BD9A-2273AF6F83EB}">
      <dgm:prSet custT="1"/>
      <dgm:spPr/>
      <dgm:t>
        <a:bodyPr/>
        <a:lstStyle/>
        <a:p>
          <a:endParaRPr lang="en-GB" sz="1200"/>
        </a:p>
      </dgm:t>
    </dgm:pt>
    <dgm:pt modelId="{04206E84-1696-6549-844A-91AB0A94557C}">
      <dgm:prSet phldrT="[Text]" custT="1"/>
      <dgm:spPr/>
      <dgm:t>
        <a:bodyPr/>
        <a:lstStyle/>
        <a:p>
          <a:pPr rtl="0"/>
          <a:r>
            <a:rPr lang="en-GB" sz="1200">
              <a:latin typeface="Nunito Sans SemiBold"/>
            </a:rPr>
            <a:t> </a:t>
          </a:r>
          <a:r>
            <a:rPr lang="en-GB" sz="1200"/>
            <a:t>Transforming tabular data into linked data via semi-automated annotation</a:t>
          </a:r>
        </a:p>
      </dgm:t>
    </dgm:pt>
    <dgm:pt modelId="{95D69C71-AE42-434C-8FB9-4CA1D74FCCDE}" type="parTrans" cxnId="{F736DAF3-0FAE-1B48-903F-7DF45F93B705}">
      <dgm:prSet/>
      <dgm:spPr/>
      <dgm:t>
        <a:bodyPr/>
        <a:lstStyle/>
        <a:p>
          <a:endParaRPr lang="en-GB" sz="1200"/>
        </a:p>
      </dgm:t>
    </dgm:pt>
    <dgm:pt modelId="{37019415-AA4B-6B40-9035-091C22CFC2E3}" type="sibTrans" cxnId="{F736DAF3-0FAE-1B48-903F-7DF45F93B705}">
      <dgm:prSet/>
      <dgm:spPr/>
      <dgm:t>
        <a:bodyPr/>
        <a:lstStyle/>
        <a:p>
          <a:endParaRPr lang="en-GB" sz="1200"/>
        </a:p>
      </dgm:t>
    </dgm:pt>
    <dgm:pt modelId="{8562BC96-2F28-724F-B445-5FA06EE256AF}">
      <dgm:prSet phldrT="[Text]" custT="1"/>
      <dgm:spPr/>
      <dgm:t>
        <a:bodyPr/>
        <a:lstStyle/>
        <a:p>
          <a:r>
            <a:rPr lang="en-GB" sz="1200"/>
            <a:t>Data Analysis</a:t>
          </a:r>
        </a:p>
      </dgm:t>
    </dgm:pt>
    <dgm:pt modelId="{F0212FB4-5CFB-7844-9CA1-F471E02A8539}" type="sibTrans" cxnId="{B4F63745-863B-8F46-82D5-BF0541368DBE}">
      <dgm:prSet custT="1"/>
      <dgm:spPr/>
      <dgm:t>
        <a:bodyPr/>
        <a:lstStyle/>
        <a:p>
          <a:endParaRPr lang="en-GB" sz="1200"/>
        </a:p>
      </dgm:t>
    </dgm:pt>
    <dgm:pt modelId="{A6ECF980-DCFD-7E46-9B60-0ED54DFEF194}" type="parTrans" cxnId="{B4F63745-863B-8F46-82D5-BF0541368DBE}">
      <dgm:prSet/>
      <dgm:spPr/>
      <dgm:t>
        <a:bodyPr/>
        <a:lstStyle/>
        <a:p>
          <a:endParaRPr lang="en-GB" sz="1200"/>
        </a:p>
      </dgm:t>
    </dgm:pt>
    <dgm:pt modelId="{D4A26BF7-8F47-AB4D-9D0A-A09AC3E379E3}">
      <dgm:prSet phldrT="[Text]" custT="1"/>
      <dgm:spPr/>
      <dgm:t>
        <a:bodyPr/>
        <a:lstStyle/>
        <a:p>
          <a:pPr rtl="0"/>
          <a:r>
            <a:rPr lang="en-GB" sz="1200">
              <a:solidFill>
                <a:schemeClr val="accent1"/>
              </a:solidFill>
              <a:latin typeface="Nunito Sans SemiBold"/>
            </a:rPr>
            <a:t> </a:t>
          </a:r>
          <a:r>
            <a:rPr lang="en-GB" sz="1200">
              <a:solidFill>
                <a:schemeClr val="tx1"/>
              </a:solidFill>
              <a:latin typeface="Nunito Sans SemiBold"/>
            </a:rPr>
            <a:t>FAIR DPPs</a:t>
          </a:r>
        </a:p>
      </dgm:t>
    </dgm:pt>
    <dgm:pt modelId="{426FBBCB-A6D6-F043-8131-BDBD5F45BE30}" type="parTrans" cxnId="{BB83C1F7-59C6-0E42-A5D8-70DF95E5BF6A}">
      <dgm:prSet/>
      <dgm:spPr/>
      <dgm:t>
        <a:bodyPr/>
        <a:lstStyle/>
        <a:p>
          <a:endParaRPr lang="en-GB" sz="1200"/>
        </a:p>
      </dgm:t>
    </dgm:pt>
    <dgm:pt modelId="{F85960D5-9F6B-E44C-8DA2-1AF1580A6F7E}" type="sibTrans" cxnId="{BB83C1F7-59C6-0E42-A5D8-70DF95E5BF6A}">
      <dgm:prSet/>
      <dgm:spPr/>
      <dgm:t>
        <a:bodyPr/>
        <a:lstStyle/>
        <a:p>
          <a:endParaRPr lang="en-GB" sz="1200"/>
        </a:p>
      </dgm:t>
    </dgm:pt>
    <dgm:pt modelId="{AF419BE7-67AC-6E48-85CB-DF281B1B3E49}">
      <dgm:prSet custT="1"/>
      <dgm:spPr/>
      <dgm:t>
        <a:bodyPr/>
        <a:lstStyle/>
        <a:p>
          <a:pPr rtl="0"/>
          <a:r>
            <a:rPr lang="en-GB" sz="1200">
              <a:solidFill>
                <a:schemeClr val="bg1"/>
              </a:solidFill>
              <a:latin typeface="Nunito Sans SemiBold"/>
            </a:rPr>
            <a:t> </a:t>
          </a:r>
          <a:r>
            <a:rPr lang="en-GB" sz="1200">
              <a:solidFill>
                <a:schemeClr val="bg1"/>
              </a:solidFill>
            </a:rPr>
            <a:t>ML investigation</a:t>
          </a:r>
          <a:r>
            <a:rPr lang="en-GB" sz="1200">
              <a:solidFill>
                <a:schemeClr val="bg1"/>
              </a:solidFill>
              <a:latin typeface="Nunito Sans SemiBold"/>
            </a:rPr>
            <a:t> </a:t>
          </a:r>
          <a:endParaRPr lang="en-GB" sz="1200">
            <a:solidFill>
              <a:schemeClr val="bg1"/>
            </a:solidFill>
          </a:endParaRPr>
        </a:p>
      </dgm:t>
    </dgm:pt>
    <dgm:pt modelId="{9307AF64-6E43-4643-BC04-7CBDFDB1C940}" type="parTrans" cxnId="{E17A7868-2854-8B43-BE82-FA72034F09F0}">
      <dgm:prSet/>
      <dgm:spPr/>
      <dgm:t>
        <a:bodyPr/>
        <a:lstStyle/>
        <a:p>
          <a:endParaRPr lang="en-GB" sz="1200"/>
        </a:p>
      </dgm:t>
    </dgm:pt>
    <dgm:pt modelId="{B6008914-280A-F846-ABE6-39230835820C}" type="sibTrans" cxnId="{E17A7868-2854-8B43-BE82-FA72034F09F0}">
      <dgm:prSet/>
      <dgm:spPr/>
      <dgm:t>
        <a:bodyPr/>
        <a:lstStyle/>
        <a:p>
          <a:endParaRPr lang="en-GB" sz="1200"/>
        </a:p>
      </dgm:t>
    </dgm:pt>
    <dgm:pt modelId="{92D332EC-D60A-B84D-998C-251894D4D3FE}">
      <dgm:prSet custT="1"/>
      <dgm:spPr/>
      <dgm:t>
        <a:bodyPr/>
        <a:lstStyle/>
        <a:p>
          <a:r>
            <a:rPr lang="en-GB" sz="1200"/>
            <a:t>Supervised (linear regression)</a:t>
          </a:r>
        </a:p>
      </dgm:t>
    </dgm:pt>
    <dgm:pt modelId="{109A1856-D9BE-854F-A6BB-81A0D6F38898}" type="parTrans" cxnId="{2150B800-0201-5B46-985E-0A99DC7D0AFB}">
      <dgm:prSet/>
      <dgm:spPr/>
      <dgm:t>
        <a:bodyPr/>
        <a:lstStyle/>
        <a:p>
          <a:endParaRPr lang="en-GB" sz="1200"/>
        </a:p>
      </dgm:t>
    </dgm:pt>
    <dgm:pt modelId="{CD8045DB-E792-3943-88FE-635D07673BF2}" type="sibTrans" cxnId="{2150B800-0201-5B46-985E-0A99DC7D0AFB}">
      <dgm:prSet/>
      <dgm:spPr/>
      <dgm:t>
        <a:bodyPr/>
        <a:lstStyle/>
        <a:p>
          <a:endParaRPr lang="en-GB" sz="1200"/>
        </a:p>
      </dgm:t>
    </dgm:pt>
    <dgm:pt modelId="{76A8BD1F-09BE-3C4F-9A60-547578F3BE53}">
      <dgm:prSet custT="1"/>
      <dgm:spPr/>
      <dgm:t>
        <a:bodyPr/>
        <a:lstStyle/>
        <a:p>
          <a:r>
            <a:rPr lang="en-GB" sz="1200"/>
            <a:t>Unsupervised (principal component analysis (PCA))</a:t>
          </a:r>
        </a:p>
      </dgm:t>
    </dgm:pt>
    <dgm:pt modelId="{2F8038DD-FC95-3249-8D9C-53B294A5D8F0}" type="parTrans" cxnId="{4B8DC8F4-6854-924E-B845-8383535C4AEB}">
      <dgm:prSet/>
      <dgm:spPr/>
      <dgm:t>
        <a:bodyPr/>
        <a:lstStyle/>
        <a:p>
          <a:endParaRPr lang="en-GB" sz="1200"/>
        </a:p>
      </dgm:t>
    </dgm:pt>
    <dgm:pt modelId="{FB3CBD9C-759A-F44F-9766-48293ABEB73E}" type="sibTrans" cxnId="{4B8DC8F4-6854-924E-B845-8383535C4AEB}">
      <dgm:prSet/>
      <dgm:spPr/>
      <dgm:t>
        <a:bodyPr/>
        <a:lstStyle/>
        <a:p>
          <a:endParaRPr lang="en-GB" sz="1200"/>
        </a:p>
      </dgm:t>
    </dgm:pt>
    <dgm:pt modelId="{43E4B399-97A3-2343-8CD6-9159BD5FAB00}">
      <dgm:prSet phldrT="[Text]" custT="1"/>
      <dgm:spPr/>
      <dgm:t>
        <a:bodyPr/>
        <a:lstStyle/>
        <a:p>
          <a:pPr algn="l">
            <a:buFont typeface="Arial" panose="020B0604020202020204" pitchFamily="34" charset="0"/>
            <a:buChar char="•"/>
          </a:pPr>
          <a:r>
            <a:rPr lang="en-GB" sz="1200"/>
            <a:t>KPIs (server and data </a:t>
          </a:r>
          <a:r>
            <a:rPr lang="en-GB" sz="1200" err="1"/>
            <a:t>center</a:t>
          </a:r>
          <a:r>
            <a:rPr lang="en-GB" sz="1200"/>
            <a:t> idle coefficient; </a:t>
          </a:r>
          <a:r>
            <a:rPr lang="en-GB" sz="1200" err="1"/>
            <a:t>evergy</a:t>
          </a:r>
          <a:r>
            <a:rPr lang="en-GB" sz="1200"/>
            <a:t> consumption) </a:t>
          </a:r>
        </a:p>
      </dgm:t>
    </dgm:pt>
    <dgm:pt modelId="{F0833A65-4A5D-4543-BF3E-2A4400134AB5}" type="parTrans" cxnId="{CF1EDAFE-3E67-3D45-97CD-801D98D78338}">
      <dgm:prSet/>
      <dgm:spPr/>
      <dgm:t>
        <a:bodyPr/>
        <a:lstStyle/>
        <a:p>
          <a:endParaRPr lang="en-GB"/>
        </a:p>
      </dgm:t>
    </dgm:pt>
    <dgm:pt modelId="{975E3428-B2A2-024E-868F-7ED7FDE072C9}" type="sibTrans" cxnId="{CF1EDAFE-3E67-3D45-97CD-801D98D78338}">
      <dgm:prSet/>
      <dgm:spPr/>
      <dgm:t>
        <a:bodyPr/>
        <a:lstStyle/>
        <a:p>
          <a:endParaRPr lang="en-GB"/>
        </a:p>
      </dgm:t>
    </dgm:pt>
    <dgm:pt modelId="{FEFD3091-2BF9-4379-B37F-E2D46FF98A43}">
      <dgm:prSet phldr="0"/>
      <dgm:spPr/>
      <dgm:t>
        <a:bodyPr/>
        <a:lstStyle/>
        <a:p>
          <a:pPr rtl="0"/>
          <a:r>
            <a:rPr lang="en-GB" sz="1200">
              <a:latin typeface="Nunito Sans SemiBold"/>
            </a:rPr>
            <a:t> </a:t>
          </a:r>
          <a:r>
            <a:rPr lang="en-GB" sz="1200"/>
            <a:t>Ontology review and extension if needed</a:t>
          </a:r>
          <a:endParaRPr lang="en-US"/>
        </a:p>
      </dgm:t>
    </dgm:pt>
    <dgm:pt modelId="{203EBFD6-F392-4E95-9895-4C3CEBC62056}" type="parTrans" cxnId="{D092F32A-FF24-4FCC-945A-A4BB90450CE6}">
      <dgm:prSet/>
      <dgm:spPr/>
    </dgm:pt>
    <dgm:pt modelId="{1FA10B1D-FAE3-48E0-B0F6-35306717E8D8}" type="sibTrans" cxnId="{D092F32A-FF24-4FCC-945A-A4BB90450CE6}">
      <dgm:prSet/>
      <dgm:spPr/>
    </dgm:pt>
    <dgm:pt modelId="{D6AA6D87-656F-A142-BFD4-08713ABBE731}" type="pres">
      <dgm:prSet presAssocID="{664F313C-D939-4C49-8817-6F8C1FB3C77C}" presName="linearFlow" presStyleCnt="0">
        <dgm:presLayoutVars>
          <dgm:dir/>
          <dgm:animLvl val="lvl"/>
          <dgm:resizeHandles val="exact"/>
        </dgm:presLayoutVars>
      </dgm:prSet>
      <dgm:spPr/>
    </dgm:pt>
    <dgm:pt modelId="{29999007-5E9D-BA4A-9DA0-79DD968BDE01}" type="pres">
      <dgm:prSet presAssocID="{8562BC96-2F28-724F-B445-5FA06EE256AF}" presName="composite" presStyleCnt="0"/>
      <dgm:spPr/>
    </dgm:pt>
    <dgm:pt modelId="{BE6CD147-B666-7F4A-AE70-DFC44F83D85F}" type="pres">
      <dgm:prSet presAssocID="{8562BC96-2F28-724F-B445-5FA06EE256AF}" presName="parTx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643D21BE-6323-C24A-8300-BE2C9E29F298}" type="pres">
      <dgm:prSet presAssocID="{8562BC96-2F28-724F-B445-5FA06EE256AF}" presName="parSh" presStyleLbl="node1" presStyleIdx="0" presStyleCnt="4"/>
      <dgm:spPr/>
    </dgm:pt>
    <dgm:pt modelId="{184B514A-4CE5-204F-A271-AD40FF4B8809}" type="pres">
      <dgm:prSet presAssocID="{8562BC96-2F28-724F-B445-5FA06EE256AF}" presName="desTx" presStyleLbl="fgAcc1" presStyleIdx="0" presStyleCnt="4">
        <dgm:presLayoutVars>
          <dgm:bulletEnabled val="1"/>
        </dgm:presLayoutVars>
      </dgm:prSet>
      <dgm:spPr/>
    </dgm:pt>
    <dgm:pt modelId="{E38DE11D-6F60-F34A-B5D2-0B694E76113B}" type="pres">
      <dgm:prSet presAssocID="{F0212FB4-5CFB-7844-9CA1-F471E02A8539}" presName="sibTrans" presStyleLbl="sibTrans2D1" presStyleIdx="0" presStyleCnt="3"/>
      <dgm:spPr/>
    </dgm:pt>
    <dgm:pt modelId="{985A6F0C-55B1-4544-91CE-667A0D86C832}" type="pres">
      <dgm:prSet presAssocID="{F0212FB4-5CFB-7844-9CA1-F471E02A8539}" presName="connTx" presStyleLbl="sibTrans2D1" presStyleIdx="0" presStyleCnt="3"/>
      <dgm:spPr/>
    </dgm:pt>
    <dgm:pt modelId="{271DB768-9EA0-1C4F-BC42-2EF9FF5BD876}" type="pres">
      <dgm:prSet presAssocID="{466267B6-245B-4644-A0F0-3CBF0D1612A9}" presName="composite" presStyleCnt="0"/>
      <dgm:spPr/>
    </dgm:pt>
    <dgm:pt modelId="{5ED72B7C-D393-0641-8455-5884AD583473}" type="pres">
      <dgm:prSet presAssocID="{466267B6-245B-4644-A0F0-3CBF0D1612A9}" presName="parTx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6A8F96B7-720E-8B43-91BD-7CFAAE493B19}" type="pres">
      <dgm:prSet presAssocID="{466267B6-245B-4644-A0F0-3CBF0D1612A9}" presName="parSh" presStyleLbl="node1" presStyleIdx="1" presStyleCnt="4"/>
      <dgm:spPr/>
    </dgm:pt>
    <dgm:pt modelId="{CF712115-3960-1747-82A0-A2559B087BE0}" type="pres">
      <dgm:prSet presAssocID="{466267B6-245B-4644-A0F0-3CBF0D1612A9}" presName="desTx" presStyleLbl="fgAcc1" presStyleIdx="1" presStyleCnt="4">
        <dgm:presLayoutVars>
          <dgm:bulletEnabled val="1"/>
        </dgm:presLayoutVars>
      </dgm:prSet>
      <dgm:spPr/>
    </dgm:pt>
    <dgm:pt modelId="{775FF328-DAB7-4D41-AF75-D2D862528813}" type="pres">
      <dgm:prSet presAssocID="{798957A4-1A30-3E4C-9E29-8FB1CA67F6F6}" presName="sibTrans" presStyleLbl="sibTrans2D1" presStyleIdx="1" presStyleCnt="3"/>
      <dgm:spPr/>
    </dgm:pt>
    <dgm:pt modelId="{AE9B5D75-6816-0C4C-967A-387ED7AED9C1}" type="pres">
      <dgm:prSet presAssocID="{798957A4-1A30-3E4C-9E29-8FB1CA67F6F6}" presName="connTx" presStyleLbl="sibTrans2D1" presStyleIdx="1" presStyleCnt="3"/>
      <dgm:spPr/>
    </dgm:pt>
    <dgm:pt modelId="{7A574118-1B32-D84C-9F8E-2C7E1340BE8E}" type="pres">
      <dgm:prSet presAssocID="{E2E35B3F-3F2E-1F40-8009-A8CE383D0A22}" presName="composite" presStyleCnt="0"/>
      <dgm:spPr/>
    </dgm:pt>
    <dgm:pt modelId="{96DCDC9D-5D46-064F-BE2B-18B829E6CA11}" type="pres">
      <dgm:prSet presAssocID="{E2E35B3F-3F2E-1F40-8009-A8CE383D0A22}" presName="parTx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37AFAC18-B5B0-1B41-BE4F-35CBF2C7145A}" type="pres">
      <dgm:prSet presAssocID="{E2E35B3F-3F2E-1F40-8009-A8CE383D0A22}" presName="parSh" presStyleLbl="node1" presStyleIdx="2" presStyleCnt="4"/>
      <dgm:spPr/>
    </dgm:pt>
    <dgm:pt modelId="{725C7F70-BCA1-114B-9E10-8DACC3302493}" type="pres">
      <dgm:prSet presAssocID="{E2E35B3F-3F2E-1F40-8009-A8CE383D0A22}" presName="desTx" presStyleLbl="fgAcc1" presStyleIdx="2" presStyleCnt="4">
        <dgm:presLayoutVars>
          <dgm:bulletEnabled val="1"/>
        </dgm:presLayoutVars>
      </dgm:prSet>
      <dgm:spPr/>
    </dgm:pt>
    <dgm:pt modelId="{FEF36C4D-3347-7440-813E-85E682C4ACA5}" type="pres">
      <dgm:prSet presAssocID="{E035A597-5254-F34E-918B-E86A8882CFD3}" presName="sibTrans" presStyleLbl="sibTrans2D1" presStyleIdx="2" presStyleCnt="3"/>
      <dgm:spPr/>
    </dgm:pt>
    <dgm:pt modelId="{B552A020-9D15-4B4E-8C1B-406B5FD14B31}" type="pres">
      <dgm:prSet presAssocID="{E035A597-5254-F34E-918B-E86A8882CFD3}" presName="connTx" presStyleLbl="sibTrans2D1" presStyleIdx="2" presStyleCnt="3"/>
      <dgm:spPr/>
    </dgm:pt>
    <dgm:pt modelId="{EDF126CD-D322-2E43-99AE-ECBED928B8EA}" type="pres">
      <dgm:prSet presAssocID="{AF419BE7-67AC-6E48-85CB-DF281B1B3E49}" presName="composite" presStyleCnt="0"/>
      <dgm:spPr/>
    </dgm:pt>
    <dgm:pt modelId="{6BBF1B50-8744-2E4C-9234-4433BE01F23D}" type="pres">
      <dgm:prSet presAssocID="{AF419BE7-67AC-6E48-85CB-DF281B1B3E49}" presName="parTx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76DBF333-C549-564A-BC60-2911C2E84C1B}" type="pres">
      <dgm:prSet presAssocID="{AF419BE7-67AC-6E48-85CB-DF281B1B3E49}" presName="parSh" presStyleLbl="node1" presStyleIdx="3" presStyleCnt="4"/>
      <dgm:spPr/>
    </dgm:pt>
    <dgm:pt modelId="{293C0E00-07C4-E843-A643-459339A9660B}" type="pres">
      <dgm:prSet presAssocID="{AF419BE7-67AC-6E48-85CB-DF281B1B3E49}" presName="desTx" presStyleLbl="fgAcc1" presStyleIdx="3" presStyleCnt="4">
        <dgm:presLayoutVars>
          <dgm:bulletEnabled val="1"/>
        </dgm:presLayoutVars>
      </dgm:prSet>
      <dgm:spPr/>
    </dgm:pt>
  </dgm:ptLst>
  <dgm:cxnLst>
    <dgm:cxn modelId="{2150B800-0201-5B46-985E-0A99DC7D0AFB}" srcId="{AF419BE7-67AC-6E48-85CB-DF281B1B3E49}" destId="{92D332EC-D60A-B84D-998C-251894D4D3FE}" srcOrd="0" destOrd="0" parTransId="{109A1856-D9BE-854F-A6BB-81A0D6F38898}" sibTransId="{CD8045DB-E792-3943-88FE-635D07673BF2}"/>
    <dgm:cxn modelId="{660F3301-7712-46AF-B4E9-5584F6493F66}" type="presOf" srcId="{671A5C0E-3A36-9642-B5CA-EF1951A4684E}" destId="{CF712115-3960-1747-82A0-A2559B087BE0}" srcOrd="0" destOrd="0" presId="urn:microsoft.com/office/officeart/2005/8/layout/process3"/>
    <dgm:cxn modelId="{961E860B-C885-4EDA-B474-CEB717E184FB}" type="presOf" srcId="{F0212FB4-5CFB-7844-9CA1-F471E02A8539}" destId="{985A6F0C-55B1-4544-91CE-667A0D86C832}" srcOrd="1" destOrd="0" presId="urn:microsoft.com/office/officeart/2005/8/layout/process3"/>
    <dgm:cxn modelId="{66C68C0C-B598-48A1-B9E6-2BCB3C67BA82}" type="presOf" srcId="{8562BC96-2F28-724F-B445-5FA06EE256AF}" destId="{643D21BE-6323-C24A-8300-BE2C9E29F298}" srcOrd="1" destOrd="0" presId="urn:microsoft.com/office/officeart/2005/8/layout/process3"/>
    <dgm:cxn modelId="{D092F32A-FF24-4FCC-945A-A4BB90450CE6}" srcId="{466267B6-245B-4644-A0F0-3CBF0D1612A9}" destId="{FEFD3091-2BF9-4379-B37F-E2D46FF98A43}" srcOrd="1" destOrd="0" parTransId="{203EBFD6-F392-4E95-9895-4C3CEBC62056}" sibTransId="{1FA10B1D-FAE3-48E0-B0F6-35306717E8D8}"/>
    <dgm:cxn modelId="{EBCBA830-3FA9-4FB2-8E6D-CA055F4874F4}" type="presOf" srcId="{466267B6-245B-4644-A0F0-3CBF0D1612A9}" destId="{5ED72B7C-D393-0641-8455-5884AD583473}" srcOrd="0" destOrd="0" presId="urn:microsoft.com/office/officeart/2005/8/layout/process3"/>
    <dgm:cxn modelId="{01885C34-593E-467C-9DA6-02412D48537B}" type="presOf" srcId="{798957A4-1A30-3E4C-9E29-8FB1CA67F6F6}" destId="{AE9B5D75-6816-0C4C-967A-387ED7AED9C1}" srcOrd="1" destOrd="0" presId="urn:microsoft.com/office/officeart/2005/8/layout/process3"/>
    <dgm:cxn modelId="{EAA0695D-B91A-7547-B023-C3C7C978A1BF}" srcId="{8562BC96-2F28-724F-B445-5FA06EE256AF}" destId="{34024423-BE9B-2C4C-A367-5791B1BA048C}" srcOrd="0" destOrd="0" parTransId="{FE2AF724-F344-9D46-BD11-FB054D639B6A}" sibTransId="{ED796BD1-0B91-8648-944F-83712FEB55B6}"/>
    <dgm:cxn modelId="{AEA40C5F-C24C-4688-9774-2A087E1E8954}" type="presOf" srcId="{E2E35B3F-3F2E-1F40-8009-A8CE383D0A22}" destId="{37AFAC18-B5B0-1B41-BE4F-35CBF2C7145A}" srcOrd="1" destOrd="0" presId="urn:microsoft.com/office/officeart/2005/8/layout/process3"/>
    <dgm:cxn modelId="{5097AA41-30A1-4CAF-936D-473ED43127EC}" type="presOf" srcId="{FEFD3091-2BF9-4379-B37F-E2D46FF98A43}" destId="{CF712115-3960-1747-82A0-A2559B087BE0}" srcOrd="0" destOrd="1" presId="urn:microsoft.com/office/officeart/2005/8/layout/process3"/>
    <dgm:cxn modelId="{B4F63745-863B-8F46-82D5-BF0541368DBE}" srcId="{664F313C-D939-4C49-8817-6F8C1FB3C77C}" destId="{8562BC96-2F28-724F-B445-5FA06EE256AF}" srcOrd="0" destOrd="0" parTransId="{A6ECF980-DCFD-7E46-9B60-0ED54DFEF194}" sibTransId="{F0212FB4-5CFB-7844-9CA1-F471E02A8539}"/>
    <dgm:cxn modelId="{ED870066-E18C-4289-A3E5-C6AF1BE1CA98}" type="presOf" srcId="{E035A597-5254-F34E-918B-E86A8882CFD3}" destId="{B552A020-9D15-4B4E-8C1B-406B5FD14B31}" srcOrd="1" destOrd="0" presId="urn:microsoft.com/office/officeart/2005/8/layout/process3"/>
    <dgm:cxn modelId="{F2505766-5FFE-4BD8-B4B2-F150984370D1}" type="presOf" srcId="{92D332EC-D60A-B84D-998C-251894D4D3FE}" destId="{293C0E00-07C4-E843-A643-459339A9660B}" srcOrd="0" destOrd="0" presId="urn:microsoft.com/office/officeart/2005/8/layout/process3"/>
    <dgm:cxn modelId="{E17A7868-2854-8B43-BE82-FA72034F09F0}" srcId="{664F313C-D939-4C49-8817-6F8C1FB3C77C}" destId="{AF419BE7-67AC-6E48-85CB-DF281B1B3E49}" srcOrd="3" destOrd="0" parTransId="{9307AF64-6E43-4643-BC04-7CBDFDB1C940}" sibTransId="{B6008914-280A-F846-ABE6-39230835820C}"/>
    <dgm:cxn modelId="{447B794A-1D7E-4085-BE25-AD7499B22047}" type="presOf" srcId="{8562BC96-2F28-724F-B445-5FA06EE256AF}" destId="{BE6CD147-B666-7F4A-AE70-DFC44F83D85F}" srcOrd="0" destOrd="0" presId="urn:microsoft.com/office/officeart/2005/8/layout/process3"/>
    <dgm:cxn modelId="{C521D34F-E73F-3649-B426-4B1B57C6A2A3}" type="presOf" srcId="{664F313C-D939-4C49-8817-6F8C1FB3C77C}" destId="{D6AA6D87-656F-A142-BFD4-08713ABBE731}" srcOrd="0" destOrd="0" presId="urn:microsoft.com/office/officeart/2005/8/layout/process3"/>
    <dgm:cxn modelId="{50DC8C72-E03E-4791-B968-1F5B9090D896}" type="presOf" srcId="{34024423-BE9B-2C4C-A367-5791B1BA048C}" destId="{184B514A-4CE5-204F-A271-AD40FF4B8809}" srcOrd="0" destOrd="0" presId="urn:microsoft.com/office/officeart/2005/8/layout/process3"/>
    <dgm:cxn modelId="{A2F64258-A7CA-4BC5-956F-2C8FB47D5854}" type="presOf" srcId="{E035A597-5254-F34E-918B-E86A8882CFD3}" destId="{FEF36C4D-3347-7440-813E-85E682C4ACA5}" srcOrd="0" destOrd="0" presId="urn:microsoft.com/office/officeart/2005/8/layout/process3"/>
    <dgm:cxn modelId="{E969A358-BAB2-468E-9AD7-DF8CB9787B4D}" type="presOf" srcId="{466267B6-245B-4644-A0F0-3CBF0D1612A9}" destId="{6A8F96B7-720E-8B43-91BD-7CFAAE493B19}" srcOrd="1" destOrd="0" presId="urn:microsoft.com/office/officeart/2005/8/layout/process3"/>
    <dgm:cxn modelId="{846FE578-C06D-4DC1-955E-CBAE12134B64}" type="presOf" srcId="{76A8BD1F-09BE-3C4F-9A60-547578F3BE53}" destId="{293C0E00-07C4-E843-A643-459339A9660B}" srcOrd="0" destOrd="1" presId="urn:microsoft.com/office/officeart/2005/8/layout/process3"/>
    <dgm:cxn modelId="{FDB3F559-E27D-4AA1-BEC5-F931F9EB84D4}" type="presOf" srcId="{798957A4-1A30-3E4C-9E29-8FB1CA67F6F6}" destId="{775FF328-DAB7-4D41-AF75-D2D862528813}" srcOrd="0" destOrd="0" presId="urn:microsoft.com/office/officeart/2005/8/layout/process3"/>
    <dgm:cxn modelId="{21602A7B-DF82-407B-9A4B-58D711723B4E}" type="presOf" srcId="{04206E84-1696-6549-844A-91AB0A94557C}" destId="{725C7F70-BCA1-114B-9E10-8DACC3302493}" srcOrd="0" destOrd="0" presId="urn:microsoft.com/office/officeart/2005/8/layout/process3"/>
    <dgm:cxn modelId="{9F55A290-A3F2-AC46-BD9A-2273AF6F83EB}" srcId="{664F313C-D939-4C49-8817-6F8C1FB3C77C}" destId="{E2E35B3F-3F2E-1F40-8009-A8CE383D0A22}" srcOrd="2" destOrd="0" parTransId="{E6AC29B7-A12E-FC4F-8746-F50D0473CDAB}" sibTransId="{E035A597-5254-F34E-918B-E86A8882CFD3}"/>
    <dgm:cxn modelId="{4C6250A0-26CA-9549-A038-B82BB630D737}" srcId="{466267B6-245B-4644-A0F0-3CBF0D1612A9}" destId="{671A5C0E-3A36-9642-B5CA-EF1951A4684E}" srcOrd="0" destOrd="0" parTransId="{8A0CB192-DA1C-2E48-B14F-F1612809ECD8}" sibTransId="{90043008-CC09-4149-BB60-1927FEC78648}"/>
    <dgm:cxn modelId="{4C3A6BAF-FAAF-45FE-9161-FDC3EFECCCE7}" type="presOf" srcId="{AF419BE7-67AC-6E48-85CB-DF281B1B3E49}" destId="{6BBF1B50-8744-2E4C-9234-4433BE01F23D}" srcOrd="0" destOrd="0" presId="urn:microsoft.com/office/officeart/2005/8/layout/process3"/>
    <dgm:cxn modelId="{1EDD68B5-601E-4315-A89C-9237F7D587E4}" type="presOf" srcId="{43E4B399-97A3-2343-8CD6-9159BD5FAB00}" destId="{184B514A-4CE5-204F-A271-AD40FF4B8809}" srcOrd="0" destOrd="1" presId="urn:microsoft.com/office/officeart/2005/8/layout/process3"/>
    <dgm:cxn modelId="{016047BB-6D89-4BBA-8811-7733CF538CFD}" type="presOf" srcId="{F0212FB4-5CFB-7844-9CA1-F471E02A8539}" destId="{E38DE11D-6F60-F34A-B5D2-0B694E76113B}" srcOrd="0" destOrd="0" presId="urn:microsoft.com/office/officeart/2005/8/layout/process3"/>
    <dgm:cxn modelId="{EC52B4D1-0F58-4320-B8E6-77ADEE40B0C2}" type="presOf" srcId="{AF419BE7-67AC-6E48-85CB-DF281B1B3E49}" destId="{76DBF333-C549-564A-BC60-2911C2E84C1B}" srcOrd="1" destOrd="0" presId="urn:microsoft.com/office/officeart/2005/8/layout/process3"/>
    <dgm:cxn modelId="{C5A535D9-547D-4AA4-99AE-49A62BEE78C5}" type="presOf" srcId="{D4A26BF7-8F47-AB4D-9D0A-A09AC3E379E3}" destId="{725C7F70-BCA1-114B-9E10-8DACC3302493}" srcOrd="0" destOrd="1" presId="urn:microsoft.com/office/officeart/2005/8/layout/process3"/>
    <dgm:cxn modelId="{278500E4-8CA1-49BE-9DEF-87C8256110C0}" type="presOf" srcId="{E2E35B3F-3F2E-1F40-8009-A8CE383D0A22}" destId="{96DCDC9D-5D46-064F-BE2B-18B829E6CA11}" srcOrd="0" destOrd="0" presId="urn:microsoft.com/office/officeart/2005/8/layout/process3"/>
    <dgm:cxn modelId="{2A91AEEF-55FA-C74E-9308-80ECC6A4CF95}" srcId="{664F313C-D939-4C49-8817-6F8C1FB3C77C}" destId="{466267B6-245B-4644-A0F0-3CBF0D1612A9}" srcOrd="1" destOrd="0" parTransId="{9AB52E50-D12A-3446-AA3D-6E75818B757A}" sibTransId="{798957A4-1A30-3E4C-9E29-8FB1CA67F6F6}"/>
    <dgm:cxn modelId="{F736DAF3-0FAE-1B48-903F-7DF45F93B705}" srcId="{E2E35B3F-3F2E-1F40-8009-A8CE383D0A22}" destId="{04206E84-1696-6549-844A-91AB0A94557C}" srcOrd="0" destOrd="0" parTransId="{95D69C71-AE42-434C-8FB9-4CA1D74FCCDE}" sibTransId="{37019415-AA4B-6B40-9035-091C22CFC2E3}"/>
    <dgm:cxn modelId="{4B8DC8F4-6854-924E-B845-8383535C4AEB}" srcId="{AF419BE7-67AC-6E48-85CB-DF281B1B3E49}" destId="{76A8BD1F-09BE-3C4F-9A60-547578F3BE53}" srcOrd="1" destOrd="0" parTransId="{2F8038DD-FC95-3249-8D9C-53B294A5D8F0}" sibTransId="{FB3CBD9C-759A-F44F-9766-48293ABEB73E}"/>
    <dgm:cxn modelId="{BB83C1F7-59C6-0E42-A5D8-70DF95E5BF6A}" srcId="{E2E35B3F-3F2E-1F40-8009-A8CE383D0A22}" destId="{D4A26BF7-8F47-AB4D-9D0A-A09AC3E379E3}" srcOrd="1" destOrd="0" parTransId="{426FBBCB-A6D6-F043-8131-BDBD5F45BE30}" sibTransId="{F85960D5-9F6B-E44C-8DA2-1AF1580A6F7E}"/>
    <dgm:cxn modelId="{CF1EDAFE-3E67-3D45-97CD-801D98D78338}" srcId="{8562BC96-2F28-724F-B445-5FA06EE256AF}" destId="{43E4B399-97A3-2343-8CD6-9159BD5FAB00}" srcOrd="1" destOrd="0" parTransId="{F0833A65-4A5D-4543-BF3E-2A4400134AB5}" sibTransId="{975E3428-B2A2-024E-868F-7ED7FDE072C9}"/>
    <dgm:cxn modelId="{9A57F1E5-43B2-4487-9DCA-7D5622280693}" type="presParOf" srcId="{D6AA6D87-656F-A142-BFD4-08713ABBE731}" destId="{29999007-5E9D-BA4A-9DA0-79DD968BDE01}" srcOrd="0" destOrd="0" presId="urn:microsoft.com/office/officeart/2005/8/layout/process3"/>
    <dgm:cxn modelId="{D3FC33B0-12A1-4C86-9104-D950F54F20EF}" type="presParOf" srcId="{29999007-5E9D-BA4A-9DA0-79DD968BDE01}" destId="{BE6CD147-B666-7F4A-AE70-DFC44F83D85F}" srcOrd="0" destOrd="0" presId="urn:microsoft.com/office/officeart/2005/8/layout/process3"/>
    <dgm:cxn modelId="{93E24647-F16E-4959-A634-590A5FAAA043}" type="presParOf" srcId="{29999007-5E9D-BA4A-9DA0-79DD968BDE01}" destId="{643D21BE-6323-C24A-8300-BE2C9E29F298}" srcOrd="1" destOrd="0" presId="urn:microsoft.com/office/officeart/2005/8/layout/process3"/>
    <dgm:cxn modelId="{B0A61387-7711-4A4C-A35B-8DFAA648F980}" type="presParOf" srcId="{29999007-5E9D-BA4A-9DA0-79DD968BDE01}" destId="{184B514A-4CE5-204F-A271-AD40FF4B8809}" srcOrd="2" destOrd="0" presId="urn:microsoft.com/office/officeart/2005/8/layout/process3"/>
    <dgm:cxn modelId="{840E054D-D999-4754-879D-5B689F8EE59E}" type="presParOf" srcId="{D6AA6D87-656F-A142-BFD4-08713ABBE731}" destId="{E38DE11D-6F60-F34A-B5D2-0B694E76113B}" srcOrd="1" destOrd="0" presId="urn:microsoft.com/office/officeart/2005/8/layout/process3"/>
    <dgm:cxn modelId="{4DE1F6F2-829E-4324-AC34-E8CE6C6268F5}" type="presParOf" srcId="{E38DE11D-6F60-F34A-B5D2-0B694E76113B}" destId="{985A6F0C-55B1-4544-91CE-667A0D86C832}" srcOrd="0" destOrd="0" presId="urn:microsoft.com/office/officeart/2005/8/layout/process3"/>
    <dgm:cxn modelId="{10BBBD68-10CF-46F7-93D9-36ACACAC464C}" type="presParOf" srcId="{D6AA6D87-656F-A142-BFD4-08713ABBE731}" destId="{271DB768-9EA0-1C4F-BC42-2EF9FF5BD876}" srcOrd="2" destOrd="0" presId="urn:microsoft.com/office/officeart/2005/8/layout/process3"/>
    <dgm:cxn modelId="{C1BEAEBC-6B5B-4041-8E0A-93484E8F63C2}" type="presParOf" srcId="{271DB768-9EA0-1C4F-BC42-2EF9FF5BD876}" destId="{5ED72B7C-D393-0641-8455-5884AD583473}" srcOrd="0" destOrd="0" presId="urn:microsoft.com/office/officeart/2005/8/layout/process3"/>
    <dgm:cxn modelId="{AB401782-DCA8-4885-B19C-0D2E6135E97F}" type="presParOf" srcId="{271DB768-9EA0-1C4F-BC42-2EF9FF5BD876}" destId="{6A8F96B7-720E-8B43-91BD-7CFAAE493B19}" srcOrd="1" destOrd="0" presId="urn:microsoft.com/office/officeart/2005/8/layout/process3"/>
    <dgm:cxn modelId="{6741CA72-B435-4F9A-A0E1-76E96DF5B3B3}" type="presParOf" srcId="{271DB768-9EA0-1C4F-BC42-2EF9FF5BD876}" destId="{CF712115-3960-1747-82A0-A2559B087BE0}" srcOrd="2" destOrd="0" presId="urn:microsoft.com/office/officeart/2005/8/layout/process3"/>
    <dgm:cxn modelId="{39B9D2AD-C6F0-4E84-9E08-969F8423E2D1}" type="presParOf" srcId="{D6AA6D87-656F-A142-BFD4-08713ABBE731}" destId="{775FF328-DAB7-4D41-AF75-D2D862528813}" srcOrd="3" destOrd="0" presId="urn:microsoft.com/office/officeart/2005/8/layout/process3"/>
    <dgm:cxn modelId="{598C5BDD-79EF-4241-BE8C-6B03D373907B}" type="presParOf" srcId="{775FF328-DAB7-4D41-AF75-D2D862528813}" destId="{AE9B5D75-6816-0C4C-967A-387ED7AED9C1}" srcOrd="0" destOrd="0" presId="urn:microsoft.com/office/officeart/2005/8/layout/process3"/>
    <dgm:cxn modelId="{F007AD48-FF49-4A8B-9DC8-AC02C7B2004D}" type="presParOf" srcId="{D6AA6D87-656F-A142-BFD4-08713ABBE731}" destId="{7A574118-1B32-D84C-9F8E-2C7E1340BE8E}" srcOrd="4" destOrd="0" presId="urn:microsoft.com/office/officeart/2005/8/layout/process3"/>
    <dgm:cxn modelId="{D8D15158-FF41-412C-B7D0-66F45DDDAA85}" type="presParOf" srcId="{7A574118-1B32-D84C-9F8E-2C7E1340BE8E}" destId="{96DCDC9D-5D46-064F-BE2B-18B829E6CA11}" srcOrd="0" destOrd="0" presId="urn:microsoft.com/office/officeart/2005/8/layout/process3"/>
    <dgm:cxn modelId="{95EB11A3-272E-4FA1-BEBE-5A0AE710FEEB}" type="presParOf" srcId="{7A574118-1B32-D84C-9F8E-2C7E1340BE8E}" destId="{37AFAC18-B5B0-1B41-BE4F-35CBF2C7145A}" srcOrd="1" destOrd="0" presId="urn:microsoft.com/office/officeart/2005/8/layout/process3"/>
    <dgm:cxn modelId="{64489CF0-A658-4A7C-8BB2-29FAEFDC3AF2}" type="presParOf" srcId="{7A574118-1B32-D84C-9F8E-2C7E1340BE8E}" destId="{725C7F70-BCA1-114B-9E10-8DACC3302493}" srcOrd="2" destOrd="0" presId="urn:microsoft.com/office/officeart/2005/8/layout/process3"/>
    <dgm:cxn modelId="{14DDB212-1410-4C8D-A9D7-BE23FBB8B800}" type="presParOf" srcId="{D6AA6D87-656F-A142-BFD4-08713ABBE731}" destId="{FEF36C4D-3347-7440-813E-85E682C4ACA5}" srcOrd="5" destOrd="0" presId="urn:microsoft.com/office/officeart/2005/8/layout/process3"/>
    <dgm:cxn modelId="{11DF2802-4A11-4E08-8C31-996E30CB9FCB}" type="presParOf" srcId="{FEF36C4D-3347-7440-813E-85E682C4ACA5}" destId="{B552A020-9D15-4B4E-8C1B-406B5FD14B31}" srcOrd="0" destOrd="0" presId="urn:microsoft.com/office/officeart/2005/8/layout/process3"/>
    <dgm:cxn modelId="{BC53519A-8980-4F65-BAA2-91025242363A}" type="presParOf" srcId="{D6AA6D87-656F-A142-BFD4-08713ABBE731}" destId="{EDF126CD-D322-2E43-99AE-ECBED928B8EA}" srcOrd="6" destOrd="0" presId="urn:microsoft.com/office/officeart/2005/8/layout/process3"/>
    <dgm:cxn modelId="{445090BD-B071-40E1-BDE8-59AF60F92337}" type="presParOf" srcId="{EDF126CD-D322-2E43-99AE-ECBED928B8EA}" destId="{6BBF1B50-8744-2E4C-9234-4433BE01F23D}" srcOrd="0" destOrd="0" presId="urn:microsoft.com/office/officeart/2005/8/layout/process3"/>
    <dgm:cxn modelId="{8D5C8B7B-9BFF-45B4-BBA4-F3D1AB4C4D9C}" type="presParOf" srcId="{EDF126CD-D322-2E43-99AE-ECBED928B8EA}" destId="{76DBF333-C549-564A-BC60-2911C2E84C1B}" srcOrd="1" destOrd="0" presId="urn:microsoft.com/office/officeart/2005/8/layout/process3"/>
    <dgm:cxn modelId="{31BB446C-6822-4F81-BDB4-E19D2B696E84}" type="presParOf" srcId="{EDF126CD-D322-2E43-99AE-ECBED928B8EA}" destId="{293C0E00-07C4-E843-A643-459339A9660B}" srcOrd="2" destOrd="0" presId="urn:microsoft.com/office/officeart/2005/8/layout/process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43D21BE-6323-C24A-8300-BE2C9E29F298}">
      <dsp:nvSpPr>
        <dsp:cNvPr id="0" name=""/>
        <dsp:cNvSpPr/>
      </dsp:nvSpPr>
      <dsp:spPr>
        <a:xfrm>
          <a:off x="1123" y="5903"/>
          <a:ext cx="1411333" cy="86400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45720" numCol="1" spcCol="1270" anchor="t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/>
            <a:t>Data Analysis</a:t>
          </a:r>
        </a:p>
      </dsp:txBody>
      <dsp:txXfrm>
        <a:off x="1123" y="5903"/>
        <a:ext cx="1411333" cy="564533"/>
      </dsp:txXfrm>
    </dsp:sp>
    <dsp:sp modelId="{184B514A-4CE5-204F-A271-AD40FF4B8809}">
      <dsp:nvSpPr>
        <dsp:cNvPr id="0" name=""/>
        <dsp:cNvSpPr/>
      </dsp:nvSpPr>
      <dsp:spPr>
        <a:xfrm>
          <a:off x="290191" y="570437"/>
          <a:ext cx="1411333" cy="180000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85344" bIns="85344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GB" sz="1200" kern="1200"/>
            <a:t>Semi-automated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GB" sz="1200" kern="1200"/>
            <a:t>KPIs (server and data </a:t>
          </a:r>
          <a:r>
            <a:rPr lang="en-GB" sz="1200" kern="1200" err="1"/>
            <a:t>center</a:t>
          </a:r>
          <a:r>
            <a:rPr lang="en-GB" sz="1200" kern="1200"/>
            <a:t> idle coefficient; </a:t>
          </a:r>
          <a:r>
            <a:rPr lang="en-GB" sz="1200" kern="1200" err="1"/>
            <a:t>evergy</a:t>
          </a:r>
          <a:r>
            <a:rPr lang="en-GB" sz="1200" kern="1200"/>
            <a:t> consumption) </a:t>
          </a:r>
        </a:p>
      </dsp:txBody>
      <dsp:txXfrm>
        <a:off x="331528" y="611774"/>
        <a:ext cx="1328659" cy="1717326"/>
      </dsp:txXfrm>
    </dsp:sp>
    <dsp:sp modelId="{E38DE11D-6F60-F34A-B5D2-0B694E76113B}">
      <dsp:nvSpPr>
        <dsp:cNvPr id="0" name=""/>
        <dsp:cNvSpPr/>
      </dsp:nvSpPr>
      <dsp:spPr>
        <a:xfrm>
          <a:off x="1626409" y="112479"/>
          <a:ext cx="453580" cy="351381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200" kern="1200"/>
        </a:p>
      </dsp:txBody>
      <dsp:txXfrm>
        <a:off x="1626409" y="182755"/>
        <a:ext cx="348166" cy="210829"/>
      </dsp:txXfrm>
    </dsp:sp>
    <dsp:sp modelId="{6A8F96B7-720E-8B43-91BD-7CFAAE493B19}">
      <dsp:nvSpPr>
        <dsp:cNvPr id="0" name=""/>
        <dsp:cNvSpPr/>
      </dsp:nvSpPr>
      <dsp:spPr>
        <a:xfrm>
          <a:off x="2268268" y="5903"/>
          <a:ext cx="1411333" cy="86400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45720" numCol="1" spcCol="1270" anchor="t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/>
            <a:t>Ontology Alignment</a:t>
          </a:r>
        </a:p>
      </dsp:txBody>
      <dsp:txXfrm>
        <a:off x="2268268" y="5903"/>
        <a:ext cx="1411333" cy="564533"/>
      </dsp:txXfrm>
    </dsp:sp>
    <dsp:sp modelId="{CF712115-3960-1747-82A0-A2559B087BE0}">
      <dsp:nvSpPr>
        <dsp:cNvPr id="0" name=""/>
        <dsp:cNvSpPr/>
      </dsp:nvSpPr>
      <dsp:spPr>
        <a:xfrm>
          <a:off x="2557336" y="570437"/>
          <a:ext cx="1411333" cy="180000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85344" bIns="85344" numCol="1" spcCol="1270" anchor="t" anchorCtr="0">
          <a:noAutofit/>
        </a:bodyPr>
        <a:lstStyle/>
        <a:p>
          <a:pPr marL="114300" lvl="1" indent="-114300" algn="l" defTabSz="5334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200" kern="1200">
              <a:latin typeface="Nunito Sans SemiBold"/>
            </a:rPr>
            <a:t> </a:t>
          </a:r>
          <a:r>
            <a:rPr lang="en-GB" sz="1200" kern="1200"/>
            <a:t>Mapping data to </a:t>
          </a:r>
          <a:r>
            <a:rPr lang="en-GB" sz="1200" kern="1200" err="1"/>
            <a:t>RePlanIT</a:t>
          </a:r>
          <a:r>
            <a:rPr lang="en-GB" sz="1200" kern="1200"/>
            <a:t> ontology</a:t>
          </a:r>
          <a:r>
            <a:rPr lang="en-GB" sz="1200" kern="1200">
              <a:latin typeface="Nunito Sans SemiBold"/>
            </a:rPr>
            <a:t> </a:t>
          </a:r>
        </a:p>
        <a:p>
          <a:pPr marL="114300" lvl="1" indent="-114300" algn="l" defTabSz="5334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200" kern="1200">
              <a:latin typeface="Nunito Sans SemiBold"/>
            </a:rPr>
            <a:t> </a:t>
          </a:r>
          <a:r>
            <a:rPr lang="en-GB" sz="1200" kern="1200"/>
            <a:t>Ontology review and extension if needed</a:t>
          </a:r>
          <a:endParaRPr lang="en-US" kern="1200"/>
        </a:p>
      </dsp:txBody>
      <dsp:txXfrm>
        <a:off x="2598673" y="611774"/>
        <a:ext cx="1328659" cy="1717326"/>
      </dsp:txXfrm>
    </dsp:sp>
    <dsp:sp modelId="{775FF328-DAB7-4D41-AF75-D2D862528813}">
      <dsp:nvSpPr>
        <dsp:cNvPr id="0" name=""/>
        <dsp:cNvSpPr/>
      </dsp:nvSpPr>
      <dsp:spPr>
        <a:xfrm>
          <a:off x="3893554" y="112479"/>
          <a:ext cx="453580" cy="351381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200" kern="1200"/>
        </a:p>
      </dsp:txBody>
      <dsp:txXfrm>
        <a:off x="3893554" y="182755"/>
        <a:ext cx="348166" cy="210829"/>
      </dsp:txXfrm>
    </dsp:sp>
    <dsp:sp modelId="{37AFAC18-B5B0-1B41-BE4F-35CBF2C7145A}">
      <dsp:nvSpPr>
        <dsp:cNvPr id="0" name=""/>
        <dsp:cNvSpPr/>
      </dsp:nvSpPr>
      <dsp:spPr>
        <a:xfrm>
          <a:off x="4535413" y="5903"/>
          <a:ext cx="1411333" cy="86400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45720" numCol="1" spcCol="1270" anchor="t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>
              <a:solidFill>
                <a:schemeClr val="bg1"/>
              </a:solidFill>
            </a:rPr>
            <a:t>DPP Knowledge Graph Generation </a:t>
          </a:r>
        </a:p>
      </dsp:txBody>
      <dsp:txXfrm>
        <a:off x="4535413" y="5903"/>
        <a:ext cx="1411333" cy="564533"/>
      </dsp:txXfrm>
    </dsp:sp>
    <dsp:sp modelId="{725C7F70-BCA1-114B-9E10-8DACC3302493}">
      <dsp:nvSpPr>
        <dsp:cNvPr id="0" name=""/>
        <dsp:cNvSpPr/>
      </dsp:nvSpPr>
      <dsp:spPr>
        <a:xfrm>
          <a:off x="4824481" y="570437"/>
          <a:ext cx="1411333" cy="180000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85344" bIns="85344" numCol="1" spcCol="1270" anchor="t" anchorCtr="0">
          <a:noAutofit/>
        </a:bodyPr>
        <a:lstStyle/>
        <a:p>
          <a:pPr marL="114300" lvl="1" indent="-114300" algn="l" defTabSz="5334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200" kern="1200">
              <a:latin typeface="Nunito Sans SemiBold"/>
            </a:rPr>
            <a:t> </a:t>
          </a:r>
          <a:r>
            <a:rPr lang="en-GB" sz="1200" kern="1200"/>
            <a:t>Transforming tabular data into linked data via semi-automated annotation</a:t>
          </a:r>
        </a:p>
        <a:p>
          <a:pPr marL="114300" lvl="1" indent="-114300" algn="l" defTabSz="5334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200" kern="1200">
              <a:solidFill>
                <a:schemeClr val="accent1"/>
              </a:solidFill>
              <a:latin typeface="Nunito Sans SemiBold"/>
            </a:rPr>
            <a:t> </a:t>
          </a:r>
          <a:r>
            <a:rPr lang="en-GB" sz="1200" kern="1200">
              <a:solidFill>
                <a:schemeClr val="tx1"/>
              </a:solidFill>
              <a:latin typeface="Nunito Sans SemiBold"/>
            </a:rPr>
            <a:t>FAIR DPPs</a:t>
          </a:r>
        </a:p>
      </dsp:txBody>
      <dsp:txXfrm>
        <a:off x="4865818" y="611774"/>
        <a:ext cx="1328659" cy="1717326"/>
      </dsp:txXfrm>
    </dsp:sp>
    <dsp:sp modelId="{FEF36C4D-3347-7440-813E-85E682C4ACA5}">
      <dsp:nvSpPr>
        <dsp:cNvPr id="0" name=""/>
        <dsp:cNvSpPr/>
      </dsp:nvSpPr>
      <dsp:spPr>
        <a:xfrm>
          <a:off x="6160699" y="112479"/>
          <a:ext cx="453580" cy="351381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200" kern="1200"/>
        </a:p>
      </dsp:txBody>
      <dsp:txXfrm>
        <a:off x="6160699" y="182755"/>
        <a:ext cx="348166" cy="210829"/>
      </dsp:txXfrm>
    </dsp:sp>
    <dsp:sp modelId="{76DBF333-C549-564A-BC60-2911C2E84C1B}">
      <dsp:nvSpPr>
        <dsp:cNvPr id="0" name=""/>
        <dsp:cNvSpPr/>
      </dsp:nvSpPr>
      <dsp:spPr>
        <a:xfrm>
          <a:off x="6802558" y="5903"/>
          <a:ext cx="1411333" cy="86400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45720" numCol="1" spcCol="1270" anchor="t" anchorCtr="0">
          <a:noAutofit/>
        </a:bodyPr>
        <a:lstStyle/>
        <a:p>
          <a:pPr marL="0" lvl="0" indent="0" algn="l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>
              <a:solidFill>
                <a:schemeClr val="bg1"/>
              </a:solidFill>
              <a:latin typeface="Nunito Sans SemiBold"/>
            </a:rPr>
            <a:t> </a:t>
          </a:r>
          <a:r>
            <a:rPr lang="en-GB" sz="1200" kern="1200">
              <a:solidFill>
                <a:schemeClr val="bg1"/>
              </a:solidFill>
            </a:rPr>
            <a:t>ML investigation</a:t>
          </a:r>
          <a:r>
            <a:rPr lang="en-GB" sz="1200" kern="1200">
              <a:solidFill>
                <a:schemeClr val="bg1"/>
              </a:solidFill>
              <a:latin typeface="Nunito Sans SemiBold"/>
            </a:rPr>
            <a:t> </a:t>
          </a:r>
          <a:endParaRPr lang="en-GB" sz="1200" kern="1200">
            <a:solidFill>
              <a:schemeClr val="bg1"/>
            </a:solidFill>
          </a:endParaRPr>
        </a:p>
      </dsp:txBody>
      <dsp:txXfrm>
        <a:off x="6802558" y="5903"/>
        <a:ext cx="1411333" cy="564533"/>
      </dsp:txXfrm>
    </dsp:sp>
    <dsp:sp modelId="{293C0E00-07C4-E843-A643-459339A9660B}">
      <dsp:nvSpPr>
        <dsp:cNvPr id="0" name=""/>
        <dsp:cNvSpPr/>
      </dsp:nvSpPr>
      <dsp:spPr>
        <a:xfrm>
          <a:off x="7091626" y="570437"/>
          <a:ext cx="1411333" cy="180000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85344" bIns="85344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200" kern="1200"/>
            <a:t>Supervised (linear regression)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200" kern="1200"/>
            <a:t>Unsupervised (principal component analysis (PCA))</a:t>
          </a:r>
        </a:p>
      </dsp:txBody>
      <dsp:txXfrm>
        <a:off x="7132963" y="611774"/>
        <a:ext cx="1328659" cy="171732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3">
  <dgm:title val=""/>
  <dgm:desc val=""/>
  <dgm:catLst>
    <dgm:cat type="process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3" destOrd="0"/>
        <dgm:cxn modelId="12" srcId="1" destId="11" srcOrd="0" destOrd="0"/>
        <dgm:cxn modelId="23" srcId="2" destId="21" srcOrd="0" destOrd="0"/>
        <dgm:cxn modelId="34" srcId="3" destId="31" srcOrd="0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" refType="w"/>
      <dgm:constr type="w" for="ch" ptType="sibTrans" refType="w" refFor="ch" refForName="composite" fact="0.3333"/>
      <dgm:constr type="w" for="des" forName="parTx"/>
      <dgm:constr type="h" for="des" forName="parTx" op="equ"/>
      <dgm:constr type="h" for="des" forName="parSh" op="equ"/>
      <dgm:constr type="w" for="des" forName="desTx"/>
      <dgm:constr type="h" for="des" forName="desTx" op="equ"/>
      <dgm:constr type="w" for="des" forName="parSh"/>
      <dgm:constr type="primFontSz" for="des" forName="parTx" val="65"/>
      <dgm:constr type="secFontSz" for="des" forName="desTx" refType="primFontSz" refFor="des" refForName="parTx" op="equ"/>
      <dgm:constr type="primFontSz" for="des" forName="connTx" refType="primFontSz" refFor="des" refForName="parTx" fact="0.8"/>
      <dgm:constr type="primFontSz" for="des" forName="connTx" refType="primFontSz" refFor="des" refForName="parTx" op="lte" fact="0.8"/>
      <dgm:constr type="h" for="des" forName="parTx" refType="primFontSz" refFor="des" refForName="parTx" fact="0.8"/>
      <dgm:constr type="h" for="des" forName="parSh" refType="primFontSz" refFor="des" refForName="parTx" fact="1.2"/>
      <dgm:constr type="h" for="des" forName="desTx" refType="primFontSz" refFor="des" refForName="parTx" fact="1.6"/>
      <dgm:constr type="h" for="des" forName="parSh" refType="h" refFor="des" refForName="parTx" op="lte" fact="1.5"/>
      <dgm:constr type="h" for="des" forName="parSh" refType="h" refFor="des" refForName="parTx" op="gte" fact="1.5"/>
    </dgm:constrLst>
    <dgm:ruleLst>
      <dgm:rule type="w" for="ch" forName="composite" val="0" fact="NaN" max="NaN"/>
      <dgm:rule type="primFontSz" for="des" forName="parTx" val="5" fact="NaN" max="NaN"/>
    </dgm:ruleLst>
    <dgm:forEach name="Name3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4">
          <dgm:if name="Name5" func="var" arg="dir" op="equ" val="norm">
            <dgm:constrLst>
              <dgm:constr type="h" refType="w" fact="1000"/>
              <dgm:constr type="l" for="ch" forName="parTx"/>
              <dgm:constr type="w" for="ch" forName="parTx" refType="w" fact="0.83"/>
              <dgm:constr type="t" for="ch" forName="parTx"/>
              <dgm:constr type="l" for="ch" forName="parSh"/>
              <dgm:constr type="w" for="ch" forName="parSh" refType="w" refFor="ch" refForName="parTx"/>
              <dgm:constr type="t" for="ch" forName="parSh"/>
              <dgm:constr type="l" for="ch" forName="desTx" refType="w" fact="0.17"/>
              <dgm:constr type="w" for="ch" forName="desTx" refType="w" refFor="ch" refForName="parTx"/>
              <dgm:constr type="t" for="ch" forName="desTx" refType="h" refFor="ch" refForName="parTx"/>
            </dgm:constrLst>
          </dgm:if>
          <dgm:else name="Name6">
            <dgm:constrLst>
              <dgm:constr type="h" refType="w" fact="1000"/>
              <dgm:constr type="l" for="ch" forName="parTx" refType="w" fact="0.17"/>
              <dgm:constr type="w" for="ch" forName="parTx" refType="w" fact="0.83"/>
              <dgm:constr type="t" for="ch" forName="parTx"/>
              <dgm:constr type="l" for="ch" forName="parSh" refType="w" fact="0.15"/>
              <dgm:constr type="w" for="ch" forName="parSh" refType="w" refFor="ch" refForName="parTx"/>
              <dgm:constr type="t" for="ch" forName="parSh"/>
              <dgm:constr type="l" for="ch" forName="desTx"/>
              <dgm:constr type="w" for="ch" forName="desTx" refType="w" refFor="ch" refForName="parTx"/>
              <dgm:constr type="t" for="ch" forName="desTx" refType="h" refFor="ch" refForName="parTx"/>
            </dgm:constrLst>
          </dgm:else>
        </dgm:choose>
        <dgm:ruleLst>
          <dgm:rule type="h" val="INF" fact="NaN" max="NaN"/>
        </dgm:ruleLst>
        <dgm:layoutNode name="parTx">
          <dgm:varLst>
            <dgm:chMax val="0"/>
            <dgm:chPref val="0"/>
            <dgm:bulletEnabled val="1"/>
          </dgm:varLst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 zOrderOff="1" hideGeom="1">
            <dgm:adjLst>
              <dgm:adj idx="1" val="0.1"/>
            </dgm:adjLst>
          </dgm:shape>
          <dgm:presOf axis="self" ptType="node"/>
          <dgm:constrLst>
            <dgm:constr type="h" refType="w" op="lte" fact="0.4"/>
            <dgm:constr type="bMarg" refType="primFontSz" fact="0.3"/>
            <dgm:constr type="h"/>
          </dgm:constrLst>
          <dgm:ruleLst>
            <dgm:rule type="h" val="INF" fact="NaN" max="NaN"/>
          </dgm:ruleLst>
        </dgm:layoutNode>
        <dgm:layoutNode name="parSh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 ptType="node"/>
          <dgm:constrLst>
            <dgm:constr type="h"/>
          </dgm:constrLst>
          <dgm:ruleLst/>
        </dgm:layoutNode>
        <dgm:layoutNode name="desTx" styleLbl="fgAcc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oundRect" r:blip="">
            <dgm:adjLst>
              <dgm:adj idx="1" val="0.1"/>
            </dgm:adjLst>
          </dgm:shape>
          <dgm:presOf axis="des" ptType="node"/>
          <dgm:constrLst>
            <dgm:constr type="secFontSz" val="65"/>
            <dgm:constr type="primFontSz" refType="secFontSz"/>
            <dgm:constr type="h"/>
          </dgm:constrLst>
          <dgm:ruleLst>
            <dgm:rule type="h" val="INF" fact="NaN" max="NaN"/>
          </dgm:ruleLst>
        </dgm:layoutNode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  <dgm:param type="srcNode" val="parTx"/>
            <dgm:param type="dstNode" val="parTx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Tx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027373B-7AAF-4A40-A722-ADE20890CCDB}" type="datetimeFigureOut">
              <a:rPr lang="en-US" smtClean="0"/>
              <a:t>7/8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9690BDF-9EE5-4B1F-BDE3-7817A3750A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877661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791FB54-3393-45E4-9718-A95FF346F828}" type="datetimeFigureOut">
              <a:rPr lang="en-US" smtClean="0"/>
              <a:t>7/8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C8C8DE-CF7B-4E3F-9B8B-8C0B0F13076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24150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37AFB2-63FE-4D27-8529-EF9C55DBAEB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865053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Google Shape;107;g28e41b112f6_0_106:notes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8" name="Google Shape;108;g28e41b112f6_0_106:notes"/>
          <p:cNvSpPr txBox="1">
            <a:spLocks noGrp="1"/>
          </p:cNvSpPr>
          <p:nvPr>
            <p:ph type="body" idx="1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21825682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6">
          <a:extLst>
            <a:ext uri="{FF2B5EF4-FFF2-40B4-BE49-F238E27FC236}">
              <a16:creationId xmlns:a16="http://schemas.microsoft.com/office/drawing/2014/main" id="{73A74ABC-9EEA-EA09-AEC1-D763B7531D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Google Shape;107;g28e41b112f6_0_106:notes">
            <a:extLst>
              <a:ext uri="{FF2B5EF4-FFF2-40B4-BE49-F238E27FC236}">
                <a16:creationId xmlns:a16="http://schemas.microsoft.com/office/drawing/2014/main" id="{927854F8-F62C-BFD4-F004-B2883E288F4A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8" name="Google Shape;108;g28e41b112f6_0_106:notes">
            <a:extLst>
              <a:ext uri="{FF2B5EF4-FFF2-40B4-BE49-F238E27FC236}">
                <a16:creationId xmlns:a16="http://schemas.microsoft.com/office/drawing/2014/main" id="{F8D1E9BB-D673-B5B5-9F70-A1A8D4B4D37A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35052046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6">
          <a:extLst>
            <a:ext uri="{FF2B5EF4-FFF2-40B4-BE49-F238E27FC236}">
              <a16:creationId xmlns:a16="http://schemas.microsoft.com/office/drawing/2014/main" id="{46CAED9F-6969-A993-A2AF-B3C488CE4D8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Google Shape;107;g28e41b112f6_0_106:notes">
            <a:extLst>
              <a:ext uri="{FF2B5EF4-FFF2-40B4-BE49-F238E27FC236}">
                <a16:creationId xmlns:a16="http://schemas.microsoft.com/office/drawing/2014/main" id="{41DE350B-9170-FC67-D30B-DD096E5E8804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8" name="Google Shape;108;g28e41b112f6_0_106:notes">
            <a:extLst>
              <a:ext uri="{FF2B5EF4-FFF2-40B4-BE49-F238E27FC236}">
                <a16:creationId xmlns:a16="http://schemas.microsoft.com/office/drawing/2014/main" id="{7DF633B7-3773-6CE7-39C0-1C0A701367B6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27148968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2" name="Google Shape;362;g1f2a2f236ff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63" name="Google Shape;363;g1f2a2f236ff_0_0:notes"/>
          <p:cNvSpPr txBox="1">
            <a:spLocks noGrp="1"/>
          </p:cNvSpPr>
          <p:nvPr>
            <p:ph type="body" idx="1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image" Target="../media/image5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0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.bin"/><Relationship Id="rId3" Type="http://schemas.openxmlformats.org/officeDocument/2006/relationships/tags" Target="../tags/tag3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tags" Target="../tags/tag41.xml"/><Relationship Id="rId5" Type="http://schemas.openxmlformats.org/officeDocument/2006/relationships/tags" Target="../tags/tag40.xml"/><Relationship Id="rId4" Type="http://schemas.openxmlformats.org/officeDocument/2006/relationships/tags" Target="../tags/tag39.xml"/><Relationship Id="rId9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4.xml"/><Relationship Id="rId7" Type="http://schemas.openxmlformats.org/officeDocument/2006/relationships/tags" Target="../tags/tag48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tags" Target="../tags/tag47.xml"/><Relationship Id="rId5" Type="http://schemas.openxmlformats.org/officeDocument/2006/relationships/tags" Target="../tags/tag46.xml"/><Relationship Id="rId10" Type="http://schemas.openxmlformats.org/officeDocument/2006/relationships/image" Target="../media/image1.emf"/><Relationship Id="rId4" Type="http://schemas.openxmlformats.org/officeDocument/2006/relationships/tags" Target="../tags/tag45.xml"/><Relationship Id="rId9" Type="http://schemas.openxmlformats.org/officeDocument/2006/relationships/oleObject" Target="../embeddings/oleObject13.bin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51.xml"/><Relationship Id="rId7" Type="http://schemas.openxmlformats.org/officeDocument/2006/relationships/tags" Target="../tags/tag55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tags" Target="../tags/tag54.xml"/><Relationship Id="rId5" Type="http://schemas.openxmlformats.org/officeDocument/2006/relationships/tags" Target="../tags/tag53.xml"/><Relationship Id="rId10" Type="http://schemas.openxmlformats.org/officeDocument/2006/relationships/image" Target="../media/image1.emf"/><Relationship Id="rId4" Type="http://schemas.openxmlformats.org/officeDocument/2006/relationships/tags" Target="../tags/tag52.xml"/><Relationship Id="rId9" Type="http://schemas.openxmlformats.org/officeDocument/2006/relationships/oleObject" Target="../embeddings/oleObject14.bin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3" Type="http://schemas.openxmlformats.org/officeDocument/2006/relationships/tags" Target="../tags/tag5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tags" Target="../tags/tag61.xml"/><Relationship Id="rId5" Type="http://schemas.openxmlformats.org/officeDocument/2006/relationships/tags" Target="../tags/tag60.xml"/><Relationship Id="rId4" Type="http://schemas.openxmlformats.org/officeDocument/2006/relationships/tags" Target="../tags/tag59.xml"/><Relationship Id="rId9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2.xml"/><Relationship Id="rId4" Type="http://schemas.openxmlformats.org/officeDocument/2006/relationships/image" Target="../media/image7.emf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9.xml"/><Relationship Id="rId7" Type="http://schemas.openxmlformats.org/officeDocument/2006/relationships/image" Target="../media/image4.jpe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5.pn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5.png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1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tags" Target="../tags/tag21.xml"/><Relationship Id="rId5" Type="http://schemas.openxmlformats.org/officeDocument/2006/relationships/tags" Target="../tags/tag20.xml"/><Relationship Id="rId4" Type="http://schemas.openxmlformats.org/officeDocument/2006/relationships/tags" Target="../tags/tag19.xml"/><Relationship Id="rId9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27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tags" Target="../tags/tag30.xml"/><Relationship Id="rId5" Type="http://schemas.openxmlformats.org/officeDocument/2006/relationships/tags" Target="../tags/tag29.xml"/><Relationship Id="rId4" Type="http://schemas.openxmlformats.org/officeDocument/2006/relationships/tags" Target="../tags/tag28.xml"/><Relationship Id="rId9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E5F6DC-F5E7-AA5A-668E-C20CA9DCF8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5620272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03004376"/>
              </p:ext>
            </p:extLst>
          </p:nvPr>
        </p:nvGraphicFramePr>
        <p:xfrm>
          <a:off x="0" y="9"/>
          <a:ext cx="176389" cy="1763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5" progId="TCLayout.ActiveDocument.1">
                  <p:embed/>
                </p:oleObj>
              </mc:Choice>
              <mc:Fallback>
                <p:oleObj name="think-cell Slide" r:id="rId3" imgW="383" imgH="385" progId="TCLayout.ActiveDocument.1">
                  <p:embed/>
                  <p:pic>
                    <p:nvPicPr>
                      <p:cNvPr id="23" name="Object 2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0" y="9"/>
                        <a:ext cx="176389" cy="1763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B15201AD-6B03-4369-B39B-121137971C8D}"/>
              </a:ext>
            </a:extLst>
          </p:cNvPr>
          <p:cNvSpPr/>
          <p:nvPr userDrawn="1"/>
        </p:nvSpPr>
        <p:spPr bwMode="auto">
          <a:xfrm>
            <a:off x="0" y="0"/>
            <a:ext cx="10159999" cy="5715000"/>
          </a:xfrm>
          <a:prstGeom prst="rect">
            <a:avLst/>
          </a:prstGeom>
          <a:solidFill>
            <a:schemeClr val="accent1"/>
          </a:solidFill>
          <a:ln w="12700" cap="flat">
            <a:noFill/>
            <a:miter lim="400000"/>
          </a:ln>
        </p:spPr>
        <p:style>
          <a:lnRef idx="0">
            <a:srgbClr val="000000"/>
          </a:lnRef>
          <a:fillRef idx="0">
            <a:srgbClr val="000000"/>
          </a:fillRef>
          <a:effectRef idx="0">
            <a:srgbClr val="000000"/>
          </a:effectRef>
          <a:fontRef idx="none"/>
        </p:style>
        <p:txBody>
          <a:bodyPr rtlCol="0" anchor="ctr"/>
          <a:lstStyle/>
          <a:p>
            <a:pPr algn="ctr"/>
            <a:endParaRPr lang="en-IN" sz="135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99A297AF-EC9C-4D47-9CB4-F330054B2A8D}"/>
              </a:ext>
            </a:extLst>
          </p:cNvPr>
          <p:cNvSpPr txBox="1">
            <a:spLocks/>
          </p:cNvSpPr>
          <p:nvPr userDrawn="1"/>
        </p:nvSpPr>
        <p:spPr bwMode="auto">
          <a:xfrm>
            <a:off x="9787099" y="5453069"/>
            <a:ext cx="144271" cy="138499"/>
          </a:xfrm>
          <a:prstGeom prst="rect">
            <a:avLst/>
          </a:prstGeom>
          <a:ln w="12700">
            <a:miter lim="400000"/>
          </a:ln>
        </p:spPr>
        <p:txBody>
          <a:bodyPr wrap="square" lIns="0" tIns="0" rIns="0" bIns="0">
            <a:noAutofit/>
          </a:bodyPr>
          <a:lstStyle>
            <a:defPPr marL="0" marR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800" b="0" i="0" u="none" strike="noStrike" cap="none" spc="0">
                <a:ln>
                  <a:noFill/>
                </a:ln>
                <a:solidFill>
                  <a:srgbClr val="000000"/>
                </a:solidFill>
              </a:defRPr>
            </a:defPPr>
            <a:lvl1pPr marL="0" marR="0" indent="0" algn="l" defTabSz="825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000" b="0" i="0" u="none" strike="noStrike" cap="none" spc="0">
                <a:ln>
                  <a:noFill/>
                </a:ln>
                <a:solidFill>
                  <a:srgbClr val="6D6868"/>
                </a:solidFill>
                <a:latin typeface="Helvetica Neue Light"/>
                <a:ea typeface="Helvetica Neue Light"/>
                <a:cs typeface="Helvetica Neue Light"/>
              </a:defRPr>
            </a:lvl1pPr>
            <a:lvl2pPr marL="0" marR="0" indent="228600" algn="ctr" defTabSz="825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3000" b="1" i="0" u="none" strike="noStrike" cap="none" spc="0">
                <a:ln>
                  <a:noFill/>
                </a:ln>
                <a:solidFill>
                  <a:srgbClr val="000000"/>
                </a:solidFill>
                <a:latin typeface="Helvetica Neue"/>
                <a:ea typeface="Helvetica Neue"/>
                <a:cs typeface="Helvetica Neue"/>
              </a:defRPr>
            </a:lvl2pPr>
            <a:lvl3pPr marL="0" marR="0" indent="457200" algn="ctr" defTabSz="825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3000" b="1" i="0" u="none" strike="noStrike" cap="none" spc="0">
                <a:ln>
                  <a:noFill/>
                </a:ln>
                <a:solidFill>
                  <a:srgbClr val="000000"/>
                </a:solidFill>
                <a:latin typeface="Helvetica Neue"/>
                <a:ea typeface="Helvetica Neue"/>
                <a:cs typeface="Helvetica Neue"/>
              </a:defRPr>
            </a:lvl3pPr>
            <a:lvl4pPr marL="0" marR="0" indent="685800" algn="ctr" defTabSz="825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3000" b="1" i="0" u="none" strike="noStrike" cap="none" spc="0">
                <a:ln>
                  <a:noFill/>
                </a:ln>
                <a:solidFill>
                  <a:srgbClr val="000000"/>
                </a:solidFill>
                <a:latin typeface="Helvetica Neue"/>
                <a:ea typeface="Helvetica Neue"/>
                <a:cs typeface="Helvetica Neue"/>
              </a:defRPr>
            </a:lvl4pPr>
            <a:lvl5pPr marL="0" marR="0" indent="914400" algn="ctr" defTabSz="825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3000" b="1" i="0" u="none" strike="noStrike" cap="none" spc="0">
                <a:ln>
                  <a:noFill/>
                </a:ln>
                <a:solidFill>
                  <a:srgbClr val="000000"/>
                </a:solidFill>
                <a:latin typeface="Helvetica Neue"/>
                <a:ea typeface="Helvetica Neue"/>
                <a:cs typeface="Helvetica Neue"/>
              </a:defRPr>
            </a:lvl5pPr>
            <a:lvl6pPr marL="0" marR="0" indent="1143000" algn="ctr" defTabSz="825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3000" b="1" i="0" u="none" strike="noStrike" cap="none" spc="0">
                <a:ln>
                  <a:noFill/>
                </a:ln>
                <a:solidFill>
                  <a:srgbClr val="000000"/>
                </a:solidFill>
                <a:latin typeface="Helvetica Neue"/>
                <a:ea typeface="Helvetica Neue"/>
                <a:cs typeface="Helvetica Neue"/>
              </a:defRPr>
            </a:lvl6pPr>
            <a:lvl7pPr marL="0" marR="0" indent="1371600" algn="ctr" defTabSz="825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3000" b="1" i="0" u="none" strike="noStrike" cap="none" spc="0">
                <a:ln>
                  <a:noFill/>
                </a:ln>
                <a:solidFill>
                  <a:srgbClr val="000000"/>
                </a:solidFill>
                <a:latin typeface="Helvetica Neue"/>
                <a:ea typeface="Helvetica Neue"/>
                <a:cs typeface="Helvetica Neue"/>
              </a:defRPr>
            </a:lvl7pPr>
            <a:lvl8pPr marL="0" marR="0" indent="1600200" algn="ctr" defTabSz="825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3000" b="1" i="0" u="none" strike="noStrike" cap="none" spc="0">
                <a:ln>
                  <a:noFill/>
                </a:ln>
                <a:solidFill>
                  <a:srgbClr val="000000"/>
                </a:solidFill>
                <a:latin typeface="Helvetica Neue"/>
                <a:ea typeface="Helvetica Neue"/>
                <a:cs typeface="Helvetica Neue"/>
              </a:defRPr>
            </a:lvl8pPr>
            <a:lvl9pPr marL="0" marR="0" indent="1828800" algn="ctr" defTabSz="825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3000" b="1" i="0" u="none" strike="noStrike" cap="none" spc="0">
                <a:ln>
                  <a:noFill/>
                </a:ln>
                <a:solidFill>
                  <a:srgbClr val="000000"/>
                </a:solidFill>
                <a:latin typeface="Helvetica Neue"/>
                <a:ea typeface="Helvetica Neue"/>
                <a:cs typeface="Helvetica Neue"/>
              </a:defRPr>
            </a:lvl9pPr>
          </a:lstStyle>
          <a:p>
            <a:pPr algn="r">
              <a:defRPr/>
            </a:pPr>
            <a:fld id="{86CB4B4D-7CA3-9044-876B-883B54F8677D}" type="slidenum">
              <a:rPr lang="en-IN" sz="675" smtClean="0">
                <a:solidFill>
                  <a:schemeClr val="bg1"/>
                </a:solidFill>
                <a:latin typeface="Muli Regular"/>
              </a:rPr>
              <a:pPr algn="r">
                <a:defRPr/>
              </a:pPr>
              <a:t>‹#›</a:t>
            </a:fld>
            <a:endParaRPr lang="en-IN" sz="675">
              <a:solidFill>
                <a:schemeClr val="bg1"/>
              </a:solidFill>
              <a:latin typeface="Muli Regular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27FBDE3-DEFF-4C41-9915-187BB6690B59}"/>
              </a:ext>
            </a:extLst>
          </p:cNvPr>
          <p:cNvCxnSpPr>
            <a:cxnSpLocks/>
          </p:cNvCxnSpPr>
          <p:nvPr userDrawn="1"/>
        </p:nvCxnSpPr>
        <p:spPr>
          <a:xfrm>
            <a:off x="9754572" y="5453069"/>
            <a:ext cx="0" cy="261937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>
            <a:extLst>
              <a:ext uri="{FF2B5EF4-FFF2-40B4-BE49-F238E27FC236}">
                <a16:creationId xmlns:a16="http://schemas.microsoft.com/office/drawing/2014/main" id="{68E8CC9A-4B14-4436-8CF5-672BA85EA378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17500" y="2672834"/>
            <a:ext cx="9525000" cy="369332"/>
          </a:xfrm>
        </p:spPr>
        <p:txBody>
          <a:bodyPr vert="horz"/>
          <a:lstStyle>
            <a:lvl1pPr algn="ctr">
              <a:defRPr sz="2800">
                <a:solidFill>
                  <a:schemeClr val="bg1"/>
                </a:solidFill>
                <a:latin typeface="+mj-lt"/>
                <a:ea typeface="Cardo" panose="02020600000000000000" pitchFamily="18" charset="-79"/>
                <a:cs typeface="Cardo" panose="02020600000000000000" pitchFamily="18" charset="-79"/>
              </a:defRPr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FB066274-71D8-40FD-57FE-69B3FBD2BB78}"/>
              </a:ext>
            </a:extLst>
          </p:cNvPr>
          <p:cNvSpPr/>
          <p:nvPr userDrawn="1"/>
        </p:nvSpPr>
        <p:spPr>
          <a:xfrm>
            <a:off x="5921829" y="1"/>
            <a:ext cx="4238171" cy="5714999"/>
          </a:xfrm>
          <a:custGeom>
            <a:avLst/>
            <a:gdLst>
              <a:gd name="connsiteX0" fmla="*/ 1492124 w 4238171"/>
              <a:gd name="connsiteY0" fmla="*/ 0 h 5714999"/>
              <a:gd name="connsiteX1" fmla="*/ 2399954 w 4238171"/>
              <a:gd name="connsiteY1" fmla="*/ 0 h 5714999"/>
              <a:gd name="connsiteX2" fmla="*/ 2399954 w 4238171"/>
              <a:gd name="connsiteY2" fmla="*/ 1583015 h 5714999"/>
              <a:gd name="connsiteX3" fmla="*/ 4238171 w 4238171"/>
              <a:gd name="connsiteY3" fmla="*/ 1583015 h 5714999"/>
              <a:gd name="connsiteX4" fmla="*/ 4238171 w 4238171"/>
              <a:gd name="connsiteY4" fmla="*/ 3290002 h 5714999"/>
              <a:gd name="connsiteX5" fmla="*/ 3175707 w 4238171"/>
              <a:gd name="connsiteY5" fmla="*/ 5714999 h 5714999"/>
              <a:gd name="connsiteX6" fmla="*/ 2399954 w 4238171"/>
              <a:gd name="connsiteY6" fmla="*/ 5714999 h 5714999"/>
              <a:gd name="connsiteX7" fmla="*/ 2399954 w 4238171"/>
              <a:gd name="connsiteY7" fmla="*/ 3830530 h 5714999"/>
              <a:gd name="connsiteX8" fmla="*/ 155673 w 4238171"/>
              <a:gd name="connsiteY8" fmla="*/ 3830530 h 5714999"/>
              <a:gd name="connsiteX9" fmla="*/ 0 w 4238171"/>
              <a:gd name="connsiteY9" fmla="*/ 3405665 h 5714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238171" h="5714999">
                <a:moveTo>
                  <a:pt x="1492124" y="0"/>
                </a:moveTo>
                <a:lnTo>
                  <a:pt x="2399954" y="0"/>
                </a:lnTo>
                <a:lnTo>
                  <a:pt x="2399954" y="1583015"/>
                </a:lnTo>
                <a:lnTo>
                  <a:pt x="4238171" y="1583015"/>
                </a:lnTo>
                <a:lnTo>
                  <a:pt x="4238171" y="3290002"/>
                </a:lnTo>
                <a:lnTo>
                  <a:pt x="3175707" y="5714999"/>
                </a:lnTo>
                <a:lnTo>
                  <a:pt x="2399954" y="5714999"/>
                </a:lnTo>
                <a:lnTo>
                  <a:pt x="2399954" y="3830530"/>
                </a:lnTo>
                <a:lnTo>
                  <a:pt x="155673" y="3830530"/>
                </a:lnTo>
                <a:lnTo>
                  <a:pt x="0" y="3405665"/>
                </a:lnTo>
                <a:close/>
              </a:path>
            </a:pathLst>
          </a:custGeom>
          <a:solidFill>
            <a:schemeClr val="tx1">
              <a:alpha val="6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5890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#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3218533-5662-8078-B2D6-BD55B18FCC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8611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5" imgH="303" progId="TCLayout.ActiveDocument.1">
                  <p:embed/>
                </p:oleObj>
              </mc:Choice>
              <mc:Fallback>
                <p:oleObj name="think-cell Slide" r:id="rId4" imgW="305" imgH="30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3218533-5662-8078-B2D6-BD55B18FCC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BAE2C482-6ED1-4DFF-BEFB-93BA0D61077E}"/>
              </a:ext>
            </a:extLst>
          </p:cNvPr>
          <p:cNvSpPr>
            <a:spLocks/>
          </p:cNvSpPr>
          <p:nvPr userDrawn="1"/>
        </p:nvSpPr>
        <p:spPr bwMode="auto">
          <a:xfrm>
            <a:off x="0" y="0"/>
            <a:ext cx="10160000" cy="5715000"/>
          </a:xfrm>
          <a:prstGeom prst="rect">
            <a:avLst/>
          </a:prstGeom>
          <a:solidFill>
            <a:schemeClr val="accent1"/>
          </a:solidFill>
          <a:ln w="12700" cap="flat">
            <a:noFill/>
            <a:miter lim="400000"/>
          </a:ln>
        </p:spPr>
        <p:style>
          <a:lnRef idx="0">
            <a:srgbClr val="000000"/>
          </a:lnRef>
          <a:fillRef idx="0">
            <a:srgbClr val="000000"/>
          </a:fillRef>
          <a:effectRef idx="0">
            <a:srgbClr val="000000"/>
          </a:effectRef>
          <a:fontRef idx="none"/>
        </p:style>
        <p:txBody>
          <a:bodyPr rtlCol="0" anchor="ctr"/>
          <a:lstStyle/>
          <a:p>
            <a:pPr algn="ctr"/>
            <a:endParaRPr lang="en-IN" sz="1350"/>
          </a:p>
        </p:txBody>
      </p:sp>
      <p:sp>
        <p:nvSpPr>
          <p:cNvPr id="4" name="Рисунок 2"/>
          <p:cNvSpPr>
            <a:spLocks noGrp="1"/>
          </p:cNvSpPr>
          <p:nvPr>
            <p:ph type="pic" sz="quarter" idx="10"/>
          </p:nvPr>
        </p:nvSpPr>
        <p:spPr>
          <a:xfrm>
            <a:off x="0" y="1560285"/>
            <a:ext cx="10160000" cy="3175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D4CF08EE-943D-470A-A8B4-BD72C176C4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5069" y="1045419"/>
            <a:ext cx="9174617" cy="369332"/>
          </a:xfrm>
        </p:spPr>
        <p:txBody>
          <a:bodyPr vert="horz" anchor="b"/>
          <a:lstStyle>
            <a:lvl1pPr algn="l">
              <a:defRPr sz="2800">
                <a:solidFill>
                  <a:schemeClr val="bg1"/>
                </a:solidFill>
                <a:latin typeface="+mj-lt"/>
                <a:ea typeface="Cardo" panose="02020600000000000000" pitchFamily="18" charset="-79"/>
                <a:cs typeface="Cardo" panose="02020600000000000000" pitchFamily="18" charset="-79"/>
              </a:defRPr>
            </a:lvl1pPr>
          </a:lstStyle>
          <a:p>
            <a:r>
              <a:rPr lang="en-US"/>
              <a:t>Section Number</a:t>
            </a:r>
            <a:endParaRPr lang="en-IN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8E0F7A4D-6D2C-47AC-B998-FCB79EA8A130}"/>
              </a:ext>
            </a:extLst>
          </p:cNvPr>
          <p:cNvSpPr>
            <a:spLocks noGrp="1"/>
          </p:cNvSpPr>
          <p:nvPr>
            <p:ph idx="17" hasCustomPrompt="1"/>
            <p:custDataLst>
              <p:tags r:id="rId2"/>
            </p:custDataLst>
          </p:nvPr>
        </p:nvSpPr>
        <p:spPr>
          <a:xfrm>
            <a:off x="745068" y="4896952"/>
            <a:ext cx="9174617" cy="489466"/>
          </a:xfrm>
        </p:spPr>
        <p:txBody>
          <a:bodyPr wrap="square" anchor="ctr">
            <a:noAutofit/>
          </a:bodyPr>
          <a:lstStyle>
            <a:lvl1pPr marL="0" indent="0" algn="l" defTabSz="685800" rtl="0" eaLnBrk="1" latinLnBrk="0" hangingPunct="1">
              <a:spcBef>
                <a:spcPct val="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lang="en-US" sz="2400" b="1" kern="1200" cap="none" baseline="0" dirty="0">
                <a:solidFill>
                  <a:schemeClr val="bg1"/>
                </a:solidFill>
                <a:latin typeface="+mn-lt"/>
                <a:ea typeface="Cardo" panose="02020600000000000000" pitchFamily="18" charset="-79"/>
                <a:cs typeface="Cardo" panose="02020600000000000000" pitchFamily="18" charset="-79"/>
              </a:defRPr>
            </a:lvl1pPr>
            <a:lvl2pPr marL="426600" indent="-213300">
              <a:buClr>
                <a:schemeClr val="accent2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Nunito Sans" panose="00000500000000000000" pitchFamily="2" charset="0"/>
                <a:ea typeface="Verdana" panose="020B0604030504040204" pitchFamily="34" charset="0"/>
                <a:cs typeface="Nunito Sans" panose="00000500000000000000" pitchFamily="2" charset="0"/>
              </a:defRPr>
            </a:lvl2pPr>
            <a:lvl3pPr marL="639900" indent="-213300">
              <a:buClr>
                <a:schemeClr val="accent3"/>
              </a:buClr>
              <a:defRPr sz="1400">
                <a:solidFill>
                  <a:schemeClr val="tx1"/>
                </a:solidFill>
                <a:latin typeface="Nunito Sans" panose="00000500000000000000" pitchFamily="2" charset="0"/>
                <a:ea typeface="Verdana" panose="020B0604030504040204" pitchFamily="34" charset="0"/>
                <a:cs typeface="Nunito Sans" panose="00000500000000000000" pitchFamily="2" charset="0"/>
              </a:defRPr>
            </a:lvl3pPr>
            <a:lvl4pPr marL="853200" indent="-213300">
              <a:buClr>
                <a:schemeClr val="accent4"/>
              </a:buClr>
              <a:defRPr sz="1400">
                <a:solidFill>
                  <a:schemeClr val="tx1"/>
                </a:solidFill>
                <a:latin typeface="Nunito Sans" panose="00000500000000000000" pitchFamily="2" charset="0"/>
                <a:ea typeface="Verdana" panose="020B0604030504040204" pitchFamily="34" charset="0"/>
                <a:cs typeface="Nunito Sans" panose="00000500000000000000" pitchFamily="2" charset="0"/>
              </a:defRPr>
            </a:lvl4pPr>
            <a:lvl5pPr marL="1066500" indent="-213300">
              <a:buClr>
                <a:schemeClr val="accent4">
                  <a:lumMod val="50000"/>
                </a:schemeClr>
              </a:buClr>
              <a:buFont typeface="Courier New" panose="02070309020205020404" pitchFamily="49" charset="0"/>
              <a:buChar char="o"/>
              <a:defRPr sz="1400">
                <a:solidFill>
                  <a:schemeClr val="tx1"/>
                </a:solidFill>
                <a:latin typeface="Nunito Sans" panose="00000500000000000000" pitchFamily="2" charset="0"/>
                <a:ea typeface="Verdana" panose="020B0604030504040204" pitchFamily="34" charset="0"/>
                <a:cs typeface="Nunito Sans" panose="00000500000000000000" pitchFamily="2" charset="0"/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pic>
        <p:nvPicPr>
          <p:cNvPr id="2" name="Picture 1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EA66FC95-4AEA-46C2-17EE-8B0BF192216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065" y="338172"/>
            <a:ext cx="2849035" cy="4159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506291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04352387"/>
              </p:ext>
            </p:extLst>
          </p:nvPr>
        </p:nvGraphicFramePr>
        <p:xfrm>
          <a:off x="0" y="9"/>
          <a:ext cx="176389" cy="1763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5" progId="TCLayout.ActiveDocument.1">
                  <p:embed/>
                </p:oleObj>
              </mc:Choice>
              <mc:Fallback>
                <p:oleObj name="think-cell Slide" r:id="rId3" imgW="383" imgH="385" progId="TCLayout.ActiveDocument.1">
                  <p:embed/>
                  <p:pic>
                    <p:nvPicPr>
                      <p:cNvPr id="23" name="Object 2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0" y="9"/>
                        <a:ext cx="176389" cy="1763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">
            <a:extLst>
              <a:ext uri="{FF2B5EF4-FFF2-40B4-BE49-F238E27FC236}">
                <a16:creationId xmlns:a16="http://schemas.microsoft.com/office/drawing/2014/main" id="{99A297AF-EC9C-4D47-9CB4-F330054B2A8D}"/>
              </a:ext>
            </a:extLst>
          </p:cNvPr>
          <p:cNvSpPr txBox="1">
            <a:spLocks/>
          </p:cNvSpPr>
          <p:nvPr userDrawn="1"/>
        </p:nvSpPr>
        <p:spPr bwMode="auto">
          <a:xfrm>
            <a:off x="9787099" y="5453069"/>
            <a:ext cx="144271" cy="138499"/>
          </a:xfrm>
          <a:prstGeom prst="rect">
            <a:avLst/>
          </a:prstGeom>
          <a:ln w="12700">
            <a:miter lim="400000"/>
          </a:ln>
        </p:spPr>
        <p:txBody>
          <a:bodyPr wrap="square" lIns="0" tIns="0" rIns="0" bIns="0">
            <a:noAutofit/>
          </a:bodyPr>
          <a:lstStyle>
            <a:defPPr marL="0" marR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800" b="0" i="0" u="none" strike="noStrike" cap="none" spc="0">
                <a:ln>
                  <a:noFill/>
                </a:ln>
                <a:solidFill>
                  <a:srgbClr val="000000"/>
                </a:solidFill>
              </a:defRPr>
            </a:defPPr>
            <a:lvl1pPr marL="0" marR="0" indent="0" algn="l" defTabSz="825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000" b="0" i="0" u="none" strike="noStrike" cap="none" spc="0">
                <a:ln>
                  <a:noFill/>
                </a:ln>
                <a:solidFill>
                  <a:srgbClr val="6D6868"/>
                </a:solidFill>
                <a:latin typeface="Helvetica Neue Light"/>
                <a:ea typeface="Helvetica Neue Light"/>
                <a:cs typeface="Helvetica Neue Light"/>
              </a:defRPr>
            </a:lvl1pPr>
            <a:lvl2pPr marL="0" marR="0" indent="228600" algn="ctr" defTabSz="825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3000" b="1" i="0" u="none" strike="noStrike" cap="none" spc="0">
                <a:ln>
                  <a:noFill/>
                </a:ln>
                <a:solidFill>
                  <a:srgbClr val="000000"/>
                </a:solidFill>
                <a:latin typeface="Helvetica Neue"/>
                <a:ea typeface="Helvetica Neue"/>
                <a:cs typeface="Helvetica Neue"/>
              </a:defRPr>
            </a:lvl2pPr>
            <a:lvl3pPr marL="0" marR="0" indent="457200" algn="ctr" defTabSz="825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3000" b="1" i="0" u="none" strike="noStrike" cap="none" spc="0">
                <a:ln>
                  <a:noFill/>
                </a:ln>
                <a:solidFill>
                  <a:srgbClr val="000000"/>
                </a:solidFill>
                <a:latin typeface="Helvetica Neue"/>
                <a:ea typeface="Helvetica Neue"/>
                <a:cs typeface="Helvetica Neue"/>
              </a:defRPr>
            </a:lvl3pPr>
            <a:lvl4pPr marL="0" marR="0" indent="685800" algn="ctr" defTabSz="825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3000" b="1" i="0" u="none" strike="noStrike" cap="none" spc="0">
                <a:ln>
                  <a:noFill/>
                </a:ln>
                <a:solidFill>
                  <a:srgbClr val="000000"/>
                </a:solidFill>
                <a:latin typeface="Helvetica Neue"/>
                <a:ea typeface="Helvetica Neue"/>
                <a:cs typeface="Helvetica Neue"/>
              </a:defRPr>
            </a:lvl4pPr>
            <a:lvl5pPr marL="0" marR="0" indent="914400" algn="ctr" defTabSz="825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3000" b="1" i="0" u="none" strike="noStrike" cap="none" spc="0">
                <a:ln>
                  <a:noFill/>
                </a:ln>
                <a:solidFill>
                  <a:srgbClr val="000000"/>
                </a:solidFill>
                <a:latin typeface="Helvetica Neue"/>
                <a:ea typeface="Helvetica Neue"/>
                <a:cs typeface="Helvetica Neue"/>
              </a:defRPr>
            </a:lvl5pPr>
            <a:lvl6pPr marL="0" marR="0" indent="1143000" algn="ctr" defTabSz="825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3000" b="1" i="0" u="none" strike="noStrike" cap="none" spc="0">
                <a:ln>
                  <a:noFill/>
                </a:ln>
                <a:solidFill>
                  <a:srgbClr val="000000"/>
                </a:solidFill>
                <a:latin typeface="Helvetica Neue"/>
                <a:ea typeface="Helvetica Neue"/>
                <a:cs typeface="Helvetica Neue"/>
              </a:defRPr>
            </a:lvl6pPr>
            <a:lvl7pPr marL="0" marR="0" indent="1371600" algn="ctr" defTabSz="825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3000" b="1" i="0" u="none" strike="noStrike" cap="none" spc="0">
                <a:ln>
                  <a:noFill/>
                </a:ln>
                <a:solidFill>
                  <a:srgbClr val="000000"/>
                </a:solidFill>
                <a:latin typeface="Helvetica Neue"/>
                <a:ea typeface="Helvetica Neue"/>
                <a:cs typeface="Helvetica Neue"/>
              </a:defRPr>
            </a:lvl7pPr>
            <a:lvl8pPr marL="0" marR="0" indent="1600200" algn="ctr" defTabSz="825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3000" b="1" i="0" u="none" strike="noStrike" cap="none" spc="0">
                <a:ln>
                  <a:noFill/>
                </a:ln>
                <a:solidFill>
                  <a:srgbClr val="000000"/>
                </a:solidFill>
                <a:latin typeface="Helvetica Neue"/>
                <a:ea typeface="Helvetica Neue"/>
                <a:cs typeface="Helvetica Neue"/>
              </a:defRPr>
            </a:lvl8pPr>
            <a:lvl9pPr marL="0" marR="0" indent="1828800" algn="ctr" defTabSz="825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3000" b="1" i="0" u="none" strike="noStrike" cap="none" spc="0">
                <a:ln>
                  <a:noFill/>
                </a:ln>
                <a:solidFill>
                  <a:srgbClr val="000000"/>
                </a:solidFill>
                <a:latin typeface="Helvetica Neue"/>
                <a:ea typeface="Helvetica Neue"/>
                <a:cs typeface="Helvetica Neue"/>
              </a:defRPr>
            </a:lvl9pPr>
          </a:lstStyle>
          <a:p>
            <a:pPr algn="r">
              <a:defRPr/>
            </a:pPr>
            <a:fld id="{86CB4B4D-7CA3-9044-876B-883B54F8677D}" type="slidenum">
              <a:rPr lang="en-IN" sz="675" smtClean="0">
                <a:latin typeface="Muli Regular"/>
              </a:rPr>
              <a:pPr algn="r">
                <a:defRPr/>
              </a:pPr>
              <a:t>‹#›</a:t>
            </a:fld>
            <a:endParaRPr lang="en-IN" sz="675">
              <a:latin typeface="Muli Regular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27FBDE3-DEFF-4C41-9915-187BB6690B59}"/>
              </a:ext>
            </a:extLst>
          </p:cNvPr>
          <p:cNvCxnSpPr>
            <a:cxnSpLocks/>
          </p:cNvCxnSpPr>
          <p:nvPr userDrawn="1"/>
        </p:nvCxnSpPr>
        <p:spPr>
          <a:xfrm>
            <a:off x="9754572" y="5453069"/>
            <a:ext cx="0" cy="26193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B15201AD-6B03-4369-B39B-121137971C8D}"/>
              </a:ext>
            </a:extLst>
          </p:cNvPr>
          <p:cNvSpPr/>
          <p:nvPr userDrawn="1"/>
        </p:nvSpPr>
        <p:spPr bwMode="auto">
          <a:xfrm>
            <a:off x="0" y="0"/>
            <a:ext cx="10159999" cy="5715000"/>
          </a:xfrm>
          <a:prstGeom prst="rect">
            <a:avLst/>
          </a:prstGeom>
          <a:solidFill>
            <a:schemeClr val="accent1"/>
          </a:solidFill>
          <a:ln w="12700" cap="flat">
            <a:noFill/>
            <a:miter lim="400000"/>
          </a:ln>
        </p:spPr>
        <p:style>
          <a:lnRef idx="0">
            <a:srgbClr val="000000"/>
          </a:lnRef>
          <a:fillRef idx="0">
            <a:srgbClr val="000000"/>
          </a:fillRef>
          <a:effectRef idx="0">
            <a:srgbClr val="000000"/>
          </a:effectRef>
          <a:fontRef idx="none"/>
        </p:style>
        <p:txBody>
          <a:bodyPr rtlCol="0" anchor="ctr"/>
          <a:lstStyle/>
          <a:p>
            <a:pPr algn="ctr"/>
            <a:endParaRPr lang="en-IN" sz="1350"/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E02B8DE0-3FFB-65A5-7A24-D0B4F2574617}"/>
              </a:ext>
            </a:extLst>
          </p:cNvPr>
          <p:cNvSpPr/>
          <p:nvPr userDrawn="1"/>
        </p:nvSpPr>
        <p:spPr>
          <a:xfrm>
            <a:off x="5921829" y="1"/>
            <a:ext cx="4238171" cy="5714999"/>
          </a:xfrm>
          <a:custGeom>
            <a:avLst/>
            <a:gdLst>
              <a:gd name="connsiteX0" fmla="*/ 1492124 w 4238171"/>
              <a:gd name="connsiteY0" fmla="*/ 0 h 5714999"/>
              <a:gd name="connsiteX1" fmla="*/ 2399954 w 4238171"/>
              <a:gd name="connsiteY1" fmla="*/ 0 h 5714999"/>
              <a:gd name="connsiteX2" fmla="*/ 2399954 w 4238171"/>
              <a:gd name="connsiteY2" fmla="*/ 1583015 h 5714999"/>
              <a:gd name="connsiteX3" fmla="*/ 4238171 w 4238171"/>
              <a:gd name="connsiteY3" fmla="*/ 1583015 h 5714999"/>
              <a:gd name="connsiteX4" fmla="*/ 4238171 w 4238171"/>
              <a:gd name="connsiteY4" fmla="*/ 3290002 h 5714999"/>
              <a:gd name="connsiteX5" fmla="*/ 3175707 w 4238171"/>
              <a:gd name="connsiteY5" fmla="*/ 5714999 h 5714999"/>
              <a:gd name="connsiteX6" fmla="*/ 2399954 w 4238171"/>
              <a:gd name="connsiteY6" fmla="*/ 5714999 h 5714999"/>
              <a:gd name="connsiteX7" fmla="*/ 2399954 w 4238171"/>
              <a:gd name="connsiteY7" fmla="*/ 3830530 h 5714999"/>
              <a:gd name="connsiteX8" fmla="*/ 155673 w 4238171"/>
              <a:gd name="connsiteY8" fmla="*/ 3830530 h 5714999"/>
              <a:gd name="connsiteX9" fmla="*/ 0 w 4238171"/>
              <a:gd name="connsiteY9" fmla="*/ 3405665 h 5714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238171" h="5714999">
                <a:moveTo>
                  <a:pt x="1492124" y="0"/>
                </a:moveTo>
                <a:lnTo>
                  <a:pt x="2399954" y="0"/>
                </a:lnTo>
                <a:lnTo>
                  <a:pt x="2399954" y="1583015"/>
                </a:lnTo>
                <a:lnTo>
                  <a:pt x="4238171" y="1583015"/>
                </a:lnTo>
                <a:lnTo>
                  <a:pt x="4238171" y="3290002"/>
                </a:lnTo>
                <a:lnTo>
                  <a:pt x="3175707" y="5714999"/>
                </a:lnTo>
                <a:lnTo>
                  <a:pt x="2399954" y="5714999"/>
                </a:lnTo>
                <a:lnTo>
                  <a:pt x="2399954" y="3830530"/>
                </a:lnTo>
                <a:lnTo>
                  <a:pt x="155673" y="3830530"/>
                </a:lnTo>
                <a:lnTo>
                  <a:pt x="0" y="3405665"/>
                </a:lnTo>
                <a:close/>
              </a:path>
            </a:pathLst>
          </a:custGeom>
          <a:solidFill>
            <a:schemeClr val="tx1">
              <a:alpha val="6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4493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1831124"/>
              </p:ext>
            </p:extLst>
          </p:nvPr>
        </p:nvGraphicFramePr>
        <p:xfrm>
          <a:off x="0" y="9"/>
          <a:ext cx="176389" cy="1763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83" imgH="385" progId="TCLayout.ActiveDocument.1">
                  <p:embed/>
                </p:oleObj>
              </mc:Choice>
              <mc:Fallback>
                <p:oleObj name="think-cell Slide" r:id="rId8" imgW="383" imgH="385" progId="TCLayout.ActiveDocument.1">
                  <p:embed/>
                  <p:pic>
                    <p:nvPicPr>
                      <p:cNvPr id="23" name="Object 22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9"/>
                        <a:ext cx="176389" cy="1763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 userDrawn="1">
            <p:ph idx="1"/>
            <p:custDataLst>
              <p:tags r:id="rId2"/>
            </p:custDataLst>
          </p:nvPr>
        </p:nvSpPr>
        <p:spPr>
          <a:xfrm>
            <a:off x="324192" y="1235676"/>
            <a:ext cx="4684415" cy="3971324"/>
          </a:xfrm>
        </p:spPr>
        <p:txBody>
          <a:bodyPr wrap="square">
            <a:noAutofit/>
          </a:bodyPr>
          <a:lstStyle>
            <a:lvl1pPr marL="0" indent="0">
              <a:buNone/>
              <a:defRPr lang="en-US" sz="1400" kern="1200" dirty="0">
                <a:solidFill>
                  <a:schemeClr val="tx1"/>
                </a:solidFill>
                <a:latin typeface="Nunito Sans" panose="00000500000000000000" pitchFamily="2" charset="0"/>
                <a:ea typeface="Verdana" panose="020B0604030504040204" pitchFamily="34" charset="0"/>
                <a:cs typeface="Nunito Sans" panose="00000500000000000000" pitchFamily="2" charset="0"/>
              </a:defRPr>
            </a:lvl1pPr>
            <a:lvl2pPr marL="426600" indent="-213300">
              <a:buClr>
                <a:schemeClr val="accent2"/>
              </a:buClr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Nunito Sans" panose="00000500000000000000" pitchFamily="2" charset="0"/>
                <a:ea typeface="Verdana" panose="020B0604030504040204" pitchFamily="34" charset="0"/>
                <a:cs typeface="Nunito Sans" panose="00000500000000000000" pitchFamily="2" charset="0"/>
              </a:defRPr>
            </a:lvl2pPr>
            <a:lvl3pPr marL="499050" indent="-285750">
              <a:buClr>
                <a:schemeClr val="accent3"/>
              </a:buClr>
              <a:buFont typeface="Nunito Sans" panose="00000500000000000000" pitchFamily="2" charset="0"/>
              <a:buChar char="–"/>
              <a:defRPr sz="1400">
                <a:solidFill>
                  <a:schemeClr val="tx1"/>
                </a:solidFill>
                <a:latin typeface="Nunito Sans" panose="00000500000000000000" pitchFamily="2" charset="0"/>
                <a:ea typeface="Verdana" panose="020B0604030504040204" pitchFamily="34" charset="0"/>
                <a:cs typeface="Nunito Sans" panose="00000500000000000000" pitchFamily="2" charset="0"/>
              </a:defRPr>
            </a:lvl3pPr>
            <a:lvl4pPr marL="853200" indent="-213300">
              <a:buClr>
                <a:schemeClr val="accent4"/>
              </a:buClr>
              <a:defRPr sz="1400">
                <a:solidFill>
                  <a:schemeClr val="tx1"/>
                </a:solidFill>
                <a:latin typeface="Nunito Sans" panose="00000500000000000000" pitchFamily="2" charset="0"/>
                <a:ea typeface="Verdana" panose="020B0604030504040204" pitchFamily="34" charset="0"/>
                <a:cs typeface="Nunito Sans" panose="00000500000000000000" pitchFamily="2" charset="0"/>
              </a:defRPr>
            </a:lvl4pPr>
            <a:lvl5pPr marL="1066500" indent="-213300">
              <a:buFont typeface="Courier New" panose="02070309020205020404" pitchFamily="49" charset="0"/>
              <a:buChar char="o"/>
              <a:defRPr lang="en-US" sz="1400" kern="1200" dirty="0">
                <a:solidFill>
                  <a:schemeClr val="tx1"/>
                </a:solidFill>
                <a:latin typeface="Nunito Sans" panose="00000500000000000000" pitchFamily="2" charset="0"/>
                <a:ea typeface="Verdana" panose="020B0604030504040204" pitchFamily="34" charset="0"/>
                <a:cs typeface="Nunito Sans" panose="00000500000000000000" pitchFamily="2" charset="0"/>
              </a:defRPr>
            </a:lvl5pPr>
          </a:lstStyle>
          <a:p>
            <a:pPr marL="214313" lvl="0" indent="-214313" algn="l" defTabSz="685800" rtl="0" eaLnBrk="1" latinLnBrk="0" hangingPunct="1"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/>
              <a:t>Click to edit Master text styles</a:t>
            </a:r>
          </a:p>
          <a:p>
            <a:pPr marL="0" lvl="0" indent="-285750" algn="l" defTabSz="685800" rtl="0" eaLnBrk="1" latinLnBrk="0" hangingPunct="1"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/>
              <a:t>Second level</a:t>
            </a:r>
          </a:p>
          <a:p>
            <a:pPr marL="73463" lvl="2" indent="-214313" algn="l" defTabSz="685800" rtl="0" eaLnBrk="1" latinLnBrk="0" hangingPunct="1"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/>
              <a:t>Third level</a:t>
            </a:r>
          </a:p>
          <a:p>
            <a:pPr marL="214313" lvl="3" indent="-214313" algn="l" defTabSz="685800" rtl="0" eaLnBrk="1" latinLnBrk="0" hangingPunct="1"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/>
              <a:t>Fourth level</a:t>
            </a:r>
          </a:p>
          <a:p>
            <a:pPr marL="1013" lvl="3" indent="-214313" algn="l" defTabSz="685800" rtl="0" eaLnBrk="1" latinLnBrk="0" hangingPunct="1"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/>
              <a:t>Fifth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6"/>
            <p:custDataLst>
              <p:tags r:id="rId3"/>
            </p:custDataLst>
          </p:nvPr>
        </p:nvSpPr>
        <p:spPr>
          <a:xfrm>
            <a:off x="5140411" y="1235676"/>
            <a:ext cx="4695396" cy="3971324"/>
          </a:xfrm>
        </p:spPr>
        <p:txBody>
          <a:bodyPr wrap="square">
            <a:noAutofit/>
          </a:bodyPr>
          <a:lstStyle>
            <a:lvl1pPr>
              <a:defRPr lang="en-US" sz="1400" kern="1200" dirty="0">
                <a:solidFill>
                  <a:schemeClr val="tx1"/>
                </a:solidFill>
                <a:latin typeface="Nunito Sans" panose="00000500000000000000" pitchFamily="2" charset="0"/>
                <a:ea typeface="Verdana" panose="020B0604030504040204" pitchFamily="34" charset="0"/>
                <a:cs typeface="Nunito Sans" panose="00000500000000000000" pitchFamily="2" charset="0"/>
              </a:defRPr>
            </a:lvl1pPr>
            <a:lvl2pPr marL="427613" indent="-214313">
              <a:defRPr lang="en-US" sz="1400" kern="1200" dirty="0">
                <a:solidFill>
                  <a:schemeClr val="tx1"/>
                </a:solidFill>
                <a:latin typeface="Nunito Sans" panose="00000500000000000000" pitchFamily="2" charset="0"/>
                <a:ea typeface="Verdana" panose="020B0604030504040204" pitchFamily="34" charset="0"/>
                <a:cs typeface="Nunito Sans" panose="00000500000000000000" pitchFamily="2" charset="0"/>
              </a:defRPr>
            </a:lvl2pPr>
            <a:lvl3pPr marL="640913" indent="-214313">
              <a:defRPr lang="en-US" sz="1400" kern="1200" dirty="0">
                <a:solidFill>
                  <a:schemeClr val="tx1"/>
                </a:solidFill>
                <a:latin typeface="Nunito Sans" panose="00000500000000000000" pitchFamily="2" charset="0"/>
                <a:ea typeface="Verdana" panose="020B0604030504040204" pitchFamily="34" charset="0"/>
                <a:cs typeface="Nunito Sans" panose="00000500000000000000" pitchFamily="2" charset="0"/>
              </a:defRPr>
            </a:lvl3pPr>
            <a:lvl4pPr marL="854213" indent="-214313">
              <a:defRPr lang="en-US" sz="1400" kern="1200" dirty="0">
                <a:solidFill>
                  <a:schemeClr val="tx1"/>
                </a:solidFill>
                <a:latin typeface="Nunito Sans" panose="00000500000000000000" pitchFamily="2" charset="0"/>
                <a:ea typeface="Verdana" panose="020B0604030504040204" pitchFamily="34" charset="0"/>
                <a:cs typeface="Nunito Sans" panose="00000500000000000000" pitchFamily="2" charset="0"/>
              </a:defRPr>
            </a:lvl4pPr>
            <a:lvl5pPr marL="1067513" indent="-214313">
              <a:defRPr lang="en-US" sz="1400" kern="1200" dirty="0">
                <a:solidFill>
                  <a:schemeClr val="tx1"/>
                </a:solidFill>
                <a:latin typeface="Nunito Sans" panose="00000500000000000000" pitchFamily="2" charset="0"/>
                <a:ea typeface="Verdana" panose="020B0604030504040204" pitchFamily="34" charset="0"/>
                <a:cs typeface="Nunito Sans" panose="00000500000000000000" pitchFamily="2" charset="0"/>
              </a:defRPr>
            </a:lvl5pPr>
          </a:lstStyle>
          <a:p>
            <a:pPr marL="214313" lvl="0" indent="-214313" algn="l" defTabSz="685800" rtl="0" eaLnBrk="1" latinLnBrk="0" hangingPunct="1"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/>
              <a:t>Click to edit Master text styles</a:t>
            </a:r>
          </a:p>
          <a:p>
            <a:pPr marL="214313" lvl="1" indent="-214313" algn="l" defTabSz="685800" rtl="0" eaLnBrk="1" latinLnBrk="0" hangingPunct="1"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/>
              <a:t>Second level</a:t>
            </a:r>
          </a:p>
          <a:p>
            <a:pPr marL="214313" lvl="2" indent="-214313" algn="l" defTabSz="685800" rtl="0" eaLnBrk="1" latinLnBrk="0" hangingPunct="1"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/>
              <a:t>Third level</a:t>
            </a:r>
          </a:p>
          <a:p>
            <a:pPr marL="214313" lvl="3" indent="-214313" algn="l" defTabSz="685800" rtl="0" eaLnBrk="1" latinLnBrk="0" hangingPunct="1"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/>
              <a:t>Fourth level</a:t>
            </a:r>
          </a:p>
          <a:p>
            <a:pPr marL="214313" lvl="4" indent="-214313" algn="l" defTabSz="685800" rtl="0" eaLnBrk="1" latinLnBrk="0" hangingPunct="1"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/>
              <a:t>Fifth level</a:t>
            </a:r>
          </a:p>
        </p:txBody>
      </p:sp>
      <p:sp>
        <p:nvSpPr>
          <p:cNvPr id="14" name="Text Placeholder 24"/>
          <p:cNvSpPr>
            <a:spLocks noGrp="1"/>
          </p:cNvSpPr>
          <p:nvPr>
            <p:ph type="body" sz="quarter" idx="14" hasCustomPrompt="1"/>
            <p:custDataLst>
              <p:tags r:id="rId4"/>
            </p:custDataLst>
          </p:nvPr>
        </p:nvSpPr>
        <p:spPr>
          <a:xfrm>
            <a:off x="324193" y="5316289"/>
            <a:ext cx="9282147" cy="123111"/>
          </a:xfrm>
          <a:noFill/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800" dirty="0">
                <a:solidFill>
                  <a:schemeClr val="tx1"/>
                </a:solidFill>
                <a:latin typeface="Nunito Sans" panose="00000500000000000000" pitchFamily="2" charset="0"/>
                <a:ea typeface="Nunito Sans" panose="00000500000000000000" pitchFamily="2" charset="0"/>
              </a:defRPr>
            </a:lvl1pPr>
          </a:lstStyle>
          <a:p>
            <a:pPr lvl="0"/>
            <a:r>
              <a:rPr lang="en-US"/>
              <a:t>Footnote: </a:t>
            </a:r>
          </a:p>
        </p:txBody>
      </p:sp>
      <p:sp>
        <p:nvSpPr>
          <p:cNvPr id="21" name="Text Placeholder 24"/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324193" y="5483327"/>
            <a:ext cx="9282147" cy="123111"/>
          </a:xfrm>
          <a:noFill/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800" dirty="0">
                <a:solidFill>
                  <a:schemeClr val="tx1"/>
                </a:solidFill>
                <a:latin typeface="Nunito Sans" panose="00000500000000000000" pitchFamily="2" charset="0"/>
                <a:ea typeface="Nunito Sans" panose="00000500000000000000" pitchFamily="2" charset="0"/>
              </a:defRPr>
            </a:lvl1pPr>
          </a:lstStyle>
          <a:p>
            <a:pPr lvl="0"/>
            <a:r>
              <a:rPr lang="en-US"/>
              <a:t>Source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19191239-0EA9-44BE-8DAD-D2FADBDDD2D7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6"/>
            </p:custDataLst>
          </p:nvPr>
        </p:nvSpPr>
        <p:spPr>
          <a:xfrm>
            <a:off x="324191" y="176395"/>
            <a:ext cx="7772400" cy="123111"/>
          </a:xfrm>
        </p:spPr>
        <p:txBody>
          <a:bodyPr vert="horz" wrap="square" lIns="0" tIns="0" rIns="0" bIns="0" rtlCol="0">
            <a:spAutoFit/>
          </a:bodyPr>
          <a:lstStyle>
            <a:lvl1pPr marL="0" indent="0">
              <a:buNone/>
              <a:defRPr lang="en-US" sz="800" b="0" i="0" u="none" strike="noStrike" cap="all" spc="0" dirty="0">
                <a:ln>
                  <a:noFill/>
                </a:ln>
                <a:solidFill>
                  <a:schemeClr val="accent1"/>
                </a:solidFill>
                <a:latin typeface="Nunito Sans ExtraBold" panose="00000900000000000000" pitchFamily="2" charset="0"/>
                <a:ea typeface="Nunito Sans ExtraBold" panose="00000900000000000000" pitchFamily="2" charset="0"/>
                <a:cs typeface="Nunito Sans ExtraBold" panose="00000900000000000000" pitchFamily="2" charset="0"/>
              </a:defRPr>
            </a:lvl1pPr>
          </a:lstStyle>
          <a:p>
            <a:pPr marR="0" lvl="0" defTabSz="619125">
              <a:lnSpc>
                <a:spcPct val="100000"/>
              </a:lnSpc>
              <a:spcAft>
                <a:spcPts val="0"/>
              </a:spcAft>
              <a:buClrTx/>
              <a:buSzTx/>
            </a:pPr>
            <a:r>
              <a:rPr lang="en-US"/>
              <a:t>TITLE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5466453-D512-8F5E-808C-2C67F4B78B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1889656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icture and explan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2172215"/>
              </p:ext>
            </p:extLst>
          </p:nvPr>
        </p:nvGraphicFramePr>
        <p:xfrm>
          <a:off x="0" y="9"/>
          <a:ext cx="176389" cy="1763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83" imgH="385" progId="TCLayout.ActiveDocument.1">
                  <p:embed/>
                </p:oleObj>
              </mc:Choice>
              <mc:Fallback>
                <p:oleObj name="think-cell Slide" r:id="rId9" imgW="383" imgH="385" progId="TCLayout.ActiveDocument.1">
                  <p:embed/>
                  <p:pic>
                    <p:nvPicPr>
                      <p:cNvPr id="23" name="Object 22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9"/>
                        <a:ext cx="176389" cy="1763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 userDrawn="1">
            <p:ph type="title"/>
            <p:custDataLst>
              <p:tags r:id="rId2"/>
            </p:custDataLst>
          </p:nvPr>
        </p:nvSpPr>
        <p:spPr>
          <a:xfrm>
            <a:off x="324191" y="423412"/>
            <a:ext cx="9511616" cy="677108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2400" dirty="0">
                <a:solidFill>
                  <a:schemeClr val="tx1"/>
                </a:solidFill>
                <a:latin typeface="+mj-lt"/>
                <a:ea typeface="Cardo" panose="02020600000000000000" pitchFamily="18" charset="-79"/>
                <a:cs typeface="Cardo" panose="02020600000000000000" pitchFamily="18" charset="-79"/>
              </a:defRPr>
            </a:lvl1pPr>
          </a:lstStyle>
          <a:p>
            <a:pPr marL="0" lvl="0"/>
            <a:r>
              <a:rPr lang="en-US"/>
              <a:t>Click to edit Master title style</a:t>
            </a:r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6"/>
            <p:custDataLst>
              <p:tags r:id="rId3"/>
            </p:custDataLst>
          </p:nvPr>
        </p:nvSpPr>
        <p:spPr>
          <a:xfrm>
            <a:off x="324193" y="1235676"/>
            <a:ext cx="3836571" cy="3971324"/>
          </a:xfrm>
        </p:spPr>
        <p:txBody>
          <a:bodyPr anchor="ctr" anchorCtr="1"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Text Placeholder 24"/>
          <p:cNvSpPr>
            <a:spLocks noGrp="1"/>
          </p:cNvSpPr>
          <p:nvPr>
            <p:ph type="body" sz="quarter" idx="14" hasCustomPrompt="1"/>
            <p:custDataLst>
              <p:tags r:id="rId4"/>
            </p:custDataLst>
          </p:nvPr>
        </p:nvSpPr>
        <p:spPr>
          <a:xfrm>
            <a:off x="324193" y="5316289"/>
            <a:ext cx="9282147" cy="123111"/>
          </a:xfrm>
          <a:noFill/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800" dirty="0">
                <a:solidFill>
                  <a:schemeClr val="tx1"/>
                </a:solidFill>
                <a:latin typeface="Nunito Sans" panose="00000500000000000000" pitchFamily="2" charset="0"/>
                <a:ea typeface="Nunito Sans" panose="00000500000000000000" pitchFamily="2" charset="0"/>
              </a:defRPr>
            </a:lvl1pPr>
          </a:lstStyle>
          <a:p>
            <a:pPr lvl="0"/>
            <a:r>
              <a:rPr lang="en-US"/>
              <a:t>Footnote: </a:t>
            </a:r>
          </a:p>
        </p:txBody>
      </p:sp>
      <p:sp>
        <p:nvSpPr>
          <p:cNvPr id="24" name="Text Placeholder 24"/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324193" y="5483327"/>
            <a:ext cx="9282147" cy="123111"/>
          </a:xfrm>
          <a:noFill/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800" dirty="0">
                <a:solidFill>
                  <a:schemeClr val="tx1"/>
                </a:solidFill>
                <a:latin typeface="Nunito Sans" panose="00000500000000000000" pitchFamily="2" charset="0"/>
                <a:ea typeface="Nunito Sans" panose="00000500000000000000" pitchFamily="2" charset="0"/>
              </a:defRPr>
            </a:lvl1pPr>
          </a:lstStyle>
          <a:p>
            <a:pPr lvl="0"/>
            <a:r>
              <a:rPr lang="en-US"/>
              <a:t>Source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D0BB94ED-4A0A-4E7B-9770-02C63722783B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6"/>
            </p:custDataLst>
          </p:nvPr>
        </p:nvSpPr>
        <p:spPr>
          <a:xfrm>
            <a:off x="324191" y="176395"/>
            <a:ext cx="7772400" cy="123111"/>
          </a:xfrm>
        </p:spPr>
        <p:txBody>
          <a:bodyPr vert="horz" wrap="square" lIns="0" tIns="0" rIns="0" bIns="0" rtlCol="0">
            <a:spAutoFit/>
          </a:bodyPr>
          <a:lstStyle>
            <a:lvl1pPr marL="0" indent="0">
              <a:buNone/>
              <a:defRPr lang="en-US" sz="800" b="0" i="0" u="none" strike="noStrike" cap="all" spc="0" dirty="0">
                <a:ln>
                  <a:noFill/>
                </a:ln>
                <a:solidFill>
                  <a:schemeClr val="accent1"/>
                </a:solidFill>
                <a:latin typeface="Nunito Sans ExtraBold" panose="00000900000000000000" pitchFamily="2" charset="0"/>
                <a:ea typeface="Nunito Sans ExtraBold" panose="00000900000000000000" pitchFamily="2" charset="0"/>
                <a:cs typeface="Nunito Sans ExtraBold" panose="00000900000000000000" pitchFamily="2" charset="0"/>
              </a:defRPr>
            </a:lvl1pPr>
          </a:lstStyle>
          <a:p>
            <a:pPr marR="0" lvl="0" defTabSz="619125">
              <a:lnSpc>
                <a:spcPct val="100000"/>
              </a:lnSpc>
              <a:spcAft>
                <a:spcPts val="0"/>
              </a:spcAft>
              <a:buClrTx/>
              <a:buSzTx/>
            </a:pPr>
            <a:r>
              <a:rPr lang="en-US"/>
              <a:t>TITLE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1E4DE821-DEB0-4665-8538-BD164272A99B}"/>
              </a:ext>
            </a:extLst>
          </p:cNvPr>
          <p:cNvSpPr>
            <a:spLocks noGrp="1"/>
          </p:cNvSpPr>
          <p:nvPr>
            <p:ph idx="20"/>
            <p:custDataLst>
              <p:tags r:id="rId7"/>
            </p:custDataLst>
          </p:nvPr>
        </p:nvSpPr>
        <p:spPr>
          <a:xfrm>
            <a:off x="4354289" y="1235676"/>
            <a:ext cx="5481521" cy="3971324"/>
          </a:xfrm>
        </p:spPr>
        <p:txBody>
          <a:bodyPr wrap="square">
            <a:noAutofit/>
          </a:bodyPr>
          <a:lstStyle>
            <a:lvl1pPr>
              <a:defRPr lang="en-US" sz="1400" kern="1200" dirty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Nunito Sans" panose="00000500000000000000" pitchFamily="2" charset="0"/>
              </a:defRPr>
            </a:lvl1pPr>
            <a:lvl2pPr marL="427613" indent="-214313">
              <a:defRPr lang="en-US" sz="1400" kern="1200" dirty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Nunito Sans" panose="00000500000000000000" pitchFamily="2" charset="0"/>
              </a:defRPr>
            </a:lvl2pPr>
            <a:lvl3pPr marL="640913" indent="-214313">
              <a:defRPr lang="en-US" sz="1400" kern="1200" dirty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Nunito Sans" panose="00000500000000000000" pitchFamily="2" charset="0"/>
              </a:defRPr>
            </a:lvl3pPr>
            <a:lvl4pPr marL="854213" indent="-214313">
              <a:defRPr lang="en-US" sz="1400" kern="1200" dirty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Nunito Sans" panose="00000500000000000000" pitchFamily="2" charset="0"/>
              </a:defRPr>
            </a:lvl4pPr>
            <a:lvl5pPr marL="1067513" indent="-214313">
              <a:defRPr lang="en-US" sz="1400" kern="1200" dirty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Nunito Sans" panose="00000500000000000000" pitchFamily="2" charset="0"/>
              </a:defRPr>
            </a:lvl5pPr>
          </a:lstStyle>
          <a:p>
            <a:pPr marL="214313" lvl="0" indent="-214313" algn="l" defTabSz="685800" rtl="0" eaLnBrk="1" latinLnBrk="0" hangingPunct="1"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/>
              <a:t>Click to edit Master text styles</a:t>
            </a:r>
          </a:p>
          <a:p>
            <a:pPr marL="214313" lvl="1" indent="-214313" algn="l" defTabSz="685800" rtl="0" eaLnBrk="1" latinLnBrk="0" hangingPunct="1"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/>
              <a:t>Second level</a:t>
            </a:r>
          </a:p>
          <a:p>
            <a:pPr marL="214313" lvl="2" indent="-214313" algn="l" defTabSz="685800" rtl="0" eaLnBrk="1" latinLnBrk="0" hangingPunct="1"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/>
              <a:t>Third level</a:t>
            </a:r>
          </a:p>
          <a:p>
            <a:pPr marL="214313" lvl="3" indent="-214313" algn="l" defTabSz="685800" rtl="0" eaLnBrk="1" latinLnBrk="0" hangingPunct="1"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/>
              <a:t>Fourth level</a:t>
            </a:r>
          </a:p>
          <a:p>
            <a:pPr marL="214313" lvl="4" indent="-214313" algn="l" defTabSz="685800" rtl="0" eaLnBrk="1" latinLnBrk="0" hangingPunct="1"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913257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2 pictures and explan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8283664"/>
              </p:ext>
            </p:extLst>
          </p:nvPr>
        </p:nvGraphicFramePr>
        <p:xfrm>
          <a:off x="0" y="9"/>
          <a:ext cx="176389" cy="1763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83" imgH="385" progId="TCLayout.ActiveDocument.1">
                  <p:embed/>
                </p:oleObj>
              </mc:Choice>
              <mc:Fallback>
                <p:oleObj name="think-cell Slide" r:id="rId9" imgW="383" imgH="385" progId="TCLayout.ActiveDocument.1">
                  <p:embed/>
                  <p:pic>
                    <p:nvPicPr>
                      <p:cNvPr id="23" name="Object 22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9"/>
                        <a:ext cx="176389" cy="1763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 userDrawn="1">
            <p:ph type="title"/>
            <p:custDataLst>
              <p:tags r:id="rId2"/>
            </p:custDataLst>
          </p:nvPr>
        </p:nvSpPr>
        <p:spPr>
          <a:xfrm>
            <a:off x="324191" y="423411"/>
            <a:ext cx="9511616" cy="677108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2400" dirty="0">
                <a:solidFill>
                  <a:schemeClr val="tx1"/>
                </a:solidFill>
                <a:latin typeface="+mj-lt"/>
                <a:ea typeface="Cardo" panose="02020600000000000000" pitchFamily="18" charset="-79"/>
                <a:cs typeface="Cardo" panose="02020600000000000000" pitchFamily="18" charset="-79"/>
              </a:defRPr>
            </a:lvl1pPr>
          </a:lstStyle>
          <a:p>
            <a:pPr marL="0" lvl="0"/>
            <a:r>
              <a:rPr lang="en-US"/>
              <a:t>Click to edit Master title style</a:t>
            </a:r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324194" y="1235681"/>
            <a:ext cx="4734279" cy="1876149"/>
          </a:xfrm>
        </p:spPr>
        <p:txBody>
          <a:bodyPr anchor="ctr" anchorCtr="1"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cxnSp>
        <p:nvCxnSpPr>
          <p:cNvPr id="16" name="Straight Connector 15"/>
          <p:cNvCxnSpPr>
            <a:cxnSpLocks/>
          </p:cNvCxnSpPr>
          <p:nvPr userDrawn="1"/>
        </p:nvCxnSpPr>
        <p:spPr>
          <a:xfrm flipV="1">
            <a:off x="5154239" y="1235676"/>
            <a:ext cx="0" cy="3971324"/>
          </a:xfrm>
          <a:prstGeom prst="line">
            <a:avLst/>
          </a:prstGeom>
          <a:ln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Picture Placeholder 2"/>
          <p:cNvSpPr>
            <a:spLocks noGrp="1"/>
          </p:cNvSpPr>
          <p:nvPr>
            <p:ph type="pic" sz="quarter" idx="20"/>
          </p:nvPr>
        </p:nvSpPr>
        <p:spPr>
          <a:xfrm>
            <a:off x="5250007" y="1235681"/>
            <a:ext cx="4681360" cy="1876149"/>
          </a:xfrm>
        </p:spPr>
        <p:txBody>
          <a:bodyPr anchor="ctr" anchorCtr="1"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Text Placeholder 24"/>
          <p:cNvSpPr>
            <a:spLocks noGrp="1"/>
          </p:cNvSpPr>
          <p:nvPr>
            <p:ph type="body" sz="quarter" idx="14" hasCustomPrompt="1"/>
            <p:custDataLst>
              <p:tags r:id="rId3"/>
            </p:custDataLst>
          </p:nvPr>
        </p:nvSpPr>
        <p:spPr>
          <a:xfrm>
            <a:off x="324193" y="5316289"/>
            <a:ext cx="9282147" cy="123111"/>
          </a:xfrm>
          <a:noFill/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800" dirty="0">
                <a:solidFill>
                  <a:schemeClr val="tx1"/>
                </a:solidFill>
                <a:latin typeface="+mn-lt"/>
                <a:ea typeface="Muli Light" pitchFamily="2" charset="0"/>
              </a:defRPr>
            </a:lvl1pPr>
          </a:lstStyle>
          <a:p>
            <a:pPr lvl="0"/>
            <a:r>
              <a:rPr lang="en-US"/>
              <a:t>Footnote: </a:t>
            </a:r>
          </a:p>
        </p:txBody>
      </p:sp>
      <p:sp>
        <p:nvSpPr>
          <p:cNvPr id="30" name="Text Placeholder 24"/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324193" y="5483327"/>
            <a:ext cx="9282147" cy="123111"/>
          </a:xfrm>
          <a:noFill/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800" dirty="0">
                <a:solidFill>
                  <a:schemeClr val="tx1"/>
                </a:solidFill>
                <a:latin typeface="+mn-lt"/>
                <a:ea typeface="Muli Light" pitchFamily="2" charset="0"/>
              </a:defRPr>
            </a:lvl1pPr>
          </a:lstStyle>
          <a:p>
            <a:pPr lvl="0"/>
            <a:r>
              <a:rPr lang="en-US"/>
              <a:t>Source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F6BF1CEC-11D5-4987-978A-6E41A044FC81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5"/>
            </p:custDataLst>
          </p:nvPr>
        </p:nvSpPr>
        <p:spPr>
          <a:xfrm>
            <a:off x="324191" y="176395"/>
            <a:ext cx="7772400" cy="123111"/>
          </a:xfrm>
        </p:spPr>
        <p:txBody>
          <a:bodyPr vert="horz" wrap="square" lIns="0" tIns="0" rIns="0" bIns="0" rtlCol="0">
            <a:spAutoFit/>
          </a:bodyPr>
          <a:lstStyle>
            <a:lvl1pPr marL="0" indent="0">
              <a:buNone/>
              <a:defRPr lang="en-US" sz="800" b="0" i="0" u="none" strike="noStrike" cap="all" spc="0" dirty="0">
                <a:ln>
                  <a:noFill/>
                </a:ln>
                <a:solidFill>
                  <a:schemeClr val="accent1"/>
                </a:solidFill>
                <a:latin typeface="Nunito Sans ExtraBold" panose="00000900000000000000" pitchFamily="2" charset="0"/>
                <a:ea typeface="Nunito Sans ExtraBold" panose="00000900000000000000" pitchFamily="2" charset="0"/>
                <a:cs typeface="Nunito Sans ExtraBold" panose="00000900000000000000" pitchFamily="2" charset="0"/>
              </a:defRPr>
            </a:lvl1pPr>
          </a:lstStyle>
          <a:p>
            <a:pPr marR="0" lvl="0" defTabSz="619125">
              <a:lnSpc>
                <a:spcPct val="100000"/>
              </a:lnSpc>
              <a:spcAft>
                <a:spcPts val="0"/>
              </a:spcAft>
              <a:buClrTx/>
              <a:buSzTx/>
            </a:pPr>
            <a:r>
              <a:rPr lang="en-US"/>
              <a:t>TITLE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F86A3543-0157-4FE3-B102-F81FF0099920}"/>
              </a:ext>
            </a:extLst>
          </p:cNvPr>
          <p:cNvSpPr>
            <a:spLocks noGrp="1"/>
          </p:cNvSpPr>
          <p:nvPr>
            <p:ph idx="22"/>
            <p:custDataLst>
              <p:tags r:id="rId6"/>
            </p:custDataLst>
          </p:nvPr>
        </p:nvSpPr>
        <p:spPr>
          <a:xfrm>
            <a:off x="324194" y="3263684"/>
            <a:ext cx="4734279" cy="1943321"/>
          </a:xfrm>
        </p:spPr>
        <p:txBody>
          <a:bodyPr wrap="square">
            <a:noAutofit/>
          </a:bodyPr>
          <a:lstStyle>
            <a:lvl1pPr>
              <a:defRPr lang="en-US" sz="1400" kern="1200" dirty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Nunito Sans" panose="00000500000000000000" pitchFamily="2" charset="0"/>
              </a:defRPr>
            </a:lvl1pPr>
            <a:lvl2pPr marL="427613" indent="-214313">
              <a:defRPr lang="en-US" sz="1400" kern="1200" dirty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Nunito Sans" panose="00000500000000000000" pitchFamily="2" charset="0"/>
              </a:defRPr>
            </a:lvl2pPr>
            <a:lvl3pPr marL="640913" indent="-214313">
              <a:defRPr lang="en-US" sz="1400" kern="1200" dirty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Nunito Sans" panose="00000500000000000000" pitchFamily="2" charset="0"/>
              </a:defRPr>
            </a:lvl3pPr>
            <a:lvl4pPr marL="854213" indent="-214313">
              <a:defRPr lang="en-US" sz="1400" kern="1200" dirty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Nunito Sans" panose="00000500000000000000" pitchFamily="2" charset="0"/>
              </a:defRPr>
            </a:lvl4pPr>
            <a:lvl5pPr marL="1067513" indent="-214313">
              <a:defRPr lang="en-US" sz="1400" kern="1200" dirty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Nunito Sans" panose="00000500000000000000" pitchFamily="2" charset="0"/>
              </a:defRPr>
            </a:lvl5pPr>
          </a:lstStyle>
          <a:p>
            <a:pPr marL="214313" lvl="0" indent="-214313" algn="l" defTabSz="685800" rtl="0" eaLnBrk="1" latinLnBrk="0" hangingPunct="1"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/>
              <a:t>Click to edit Master text styles</a:t>
            </a:r>
          </a:p>
          <a:p>
            <a:pPr marL="214313" lvl="1" indent="-214313" algn="l" defTabSz="685800" rtl="0" eaLnBrk="1" latinLnBrk="0" hangingPunct="1"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/>
              <a:t>Second level</a:t>
            </a:r>
          </a:p>
          <a:p>
            <a:pPr marL="214313" lvl="2" indent="-214313" algn="l" defTabSz="685800" rtl="0" eaLnBrk="1" latinLnBrk="0" hangingPunct="1"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/>
              <a:t>Third level</a:t>
            </a:r>
          </a:p>
          <a:p>
            <a:pPr marL="214313" lvl="3" indent="-214313" algn="l" defTabSz="685800" rtl="0" eaLnBrk="1" latinLnBrk="0" hangingPunct="1"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/>
              <a:t>Fourth level</a:t>
            </a:r>
          </a:p>
          <a:p>
            <a:pPr marL="214313" lvl="4" indent="-214313" algn="l" defTabSz="685800" rtl="0" eaLnBrk="1" latinLnBrk="0" hangingPunct="1"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/>
              <a:t>Fifth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E5DB6615-AAE7-451E-B475-06CC14995F4C}"/>
              </a:ext>
            </a:extLst>
          </p:cNvPr>
          <p:cNvSpPr>
            <a:spLocks noGrp="1"/>
          </p:cNvSpPr>
          <p:nvPr>
            <p:ph idx="23"/>
            <p:custDataLst>
              <p:tags r:id="rId7"/>
            </p:custDataLst>
          </p:nvPr>
        </p:nvSpPr>
        <p:spPr>
          <a:xfrm>
            <a:off x="5250008" y="3263684"/>
            <a:ext cx="4681360" cy="1943321"/>
          </a:xfrm>
        </p:spPr>
        <p:txBody>
          <a:bodyPr wrap="square">
            <a:noAutofit/>
          </a:bodyPr>
          <a:lstStyle>
            <a:lvl1pPr>
              <a:defRPr lang="en-US" sz="1400" kern="1200" dirty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Nunito Sans" panose="00000500000000000000" pitchFamily="2" charset="0"/>
              </a:defRPr>
            </a:lvl1pPr>
            <a:lvl2pPr marL="427613" indent="-214313">
              <a:defRPr lang="en-US" sz="1400" kern="1200" dirty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Nunito Sans" panose="00000500000000000000" pitchFamily="2" charset="0"/>
              </a:defRPr>
            </a:lvl2pPr>
            <a:lvl3pPr marL="640913" indent="-214313">
              <a:defRPr lang="en-US" sz="1400" kern="1200" dirty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Nunito Sans" panose="00000500000000000000" pitchFamily="2" charset="0"/>
              </a:defRPr>
            </a:lvl3pPr>
            <a:lvl4pPr marL="854213" indent="-214313">
              <a:defRPr lang="en-US" sz="1400" kern="1200" dirty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Nunito Sans" panose="00000500000000000000" pitchFamily="2" charset="0"/>
              </a:defRPr>
            </a:lvl4pPr>
            <a:lvl5pPr marL="1067513" indent="-214313">
              <a:defRPr lang="en-US" sz="1400" kern="1200" dirty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Nunito Sans" panose="00000500000000000000" pitchFamily="2" charset="0"/>
              </a:defRPr>
            </a:lvl5pPr>
          </a:lstStyle>
          <a:p>
            <a:pPr marL="214313" lvl="0" indent="-214313" algn="l" defTabSz="685800" rtl="0" eaLnBrk="1" latinLnBrk="0" hangingPunct="1"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/>
              <a:t>Click to edit Master text styles</a:t>
            </a:r>
          </a:p>
          <a:p>
            <a:pPr marL="214313" lvl="1" indent="-214313" algn="l" defTabSz="685800" rtl="0" eaLnBrk="1" latinLnBrk="0" hangingPunct="1"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/>
              <a:t>Second level</a:t>
            </a:r>
          </a:p>
          <a:p>
            <a:pPr marL="214313" lvl="2" indent="-214313" algn="l" defTabSz="685800" rtl="0" eaLnBrk="1" latinLnBrk="0" hangingPunct="1"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/>
              <a:t>Third level</a:t>
            </a:r>
          </a:p>
          <a:p>
            <a:pPr marL="214313" lvl="3" indent="-214313" algn="l" defTabSz="685800" rtl="0" eaLnBrk="1" latinLnBrk="0" hangingPunct="1"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/>
              <a:t>Fourth level</a:t>
            </a:r>
          </a:p>
          <a:p>
            <a:pPr marL="214313" lvl="4" indent="-214313" algn="l" defTabSz="685800" rtl="0" eaLnBrk="1" latinLnBrk="0" hangingPunct="1"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0928868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ingle picture and explan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0867557"/>
              </p:ext>
            </p:extLst>
          </p:nvPr>
        </p:nvGraphicFramePr>
        <p:xfrm>
          <a:off x="0" y="9"/>
          <a:ext cx="176389" cy="1763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83" imgH="385" progId="TCLayout.ActiveDocument.1">
                  <p:embed/>
                </p:oleObj>
              </mc:Choice>
              <mc:Fallback>
                <p:oleObj name="think-cell Slide" r:id="rId8" imgW="383" imgH="385" progId="TCLayout.ActiveDocument.1">
                  <p:embed/>
                  <p:pic>
                    <p:nvPicPr>
                      <p:cNvPr id="23" name="Object 22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9"/>
                        <a:ext cx="176389" cy="1763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 userDrawn="1">
            <p:ph type="title"/>
            <p:custDataLst>
              <p:tags r:id="rId2"/>
            </p:custDataLst>
          </p:nvPr>
        </p:nvSpPr>
        <p:spPr>
          <a:xfrm>
            <a:off x="324191" y="423411"/>
            <a:ext cx="9511616" cy="677108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2400" dirty="0">
                <a:solidFill>
                  <a:schemeClr val="tx1"/>
                </a:solidFill>
                <a:latin typeface="+mj-lt"/>
                <a:ea typeface="Cardo" panose="02020600000000000000" pitchFamily="18" charset="-79"/>
                <a:cs typeface="Cardo" panose="02020600000000000000" pitchFamily="18" charset="-79"/>
              </a:defRPr>
            </a:lvl1pPr>
          </a:lstStyle>
          <a:p>
            <a:pPr marL="0" lvl="0"/>
            <a:r>
              <a:rPr lang="en-US"/>
              <a:t>Click to edit Master title style</a:t>
            </a:r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324193" y="1235676"/>
            <a:ext cx="4591315" cy="3971324"/>
          </a:xfrm>
        </p:spPr>
        <p:txBody>
          <a:bodyPr anchor="ctr" anchorCtr="1">
            <a:normAutofit/>
          </a:bodyPr>
          <a:lstStyle>
            <a:lvl1pPr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Text Placeholder 24"/>
          <p:cNvSpPr>
            <a:spLocks noGrp="1"/>
          </p:cNvSpPr>
          <p:nvPr>
            <p:ph type="body" sz="quarter" idx="14" hasCustomPrompt="1"/>
            <p:custDataLst>
              <p:tags r:id="rId3"/>
            </p:custDataLst>
          </p:nvPr>
        </p:nvSpPr>
        <p:spPr>
          <a:xfrm>
            <a:off x="324193" y="5316289"/>
            <a:ext cx="9282147" cy="123111"/>
          </a:xfrm>
          <a:noFill/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800" dirty="0">
                <a:solidFill>
                  <a:schemeClr val="tx1"/>
                </a:solidFill>
                <a:latin typeface="+mn-lt"/>
                <a:ea typeface="Muli Light" pitchFamily="2" charset="0"/>
              </a:defRPr>
            </a:lvl1pPr>
          </a:lstStyle>
          <a:p>
            <a:pPr lvl="0"/>
            <a:r>
              <a:rPr lang="en-US"/>
              <a:t>Footnote: </a:t>
            </a:r>
          </a:p>
        </p:txBody>
      </p:sp>
      <p:sp>
        <p:nvSpPr>
          <p:cNvPr id="24" name="Text Placeholder 24"/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324193" y="5483327"/>
            <a:ext cx="9282147" cy="123111"/>
          </a:xfrm>
          <a:noFill/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800" dirty="0">
                <a:solidFill>
                  <a:schemeClr val="tx1"/>
                </a:solidFill>
                <a:latin typeface="+mn-lt"/>
                <a:ea typeface="Muli Light" pitchFamily="2" charset="0"/>
              </a:defRPr>
            </a:lvl1pPr>
          </a:lstStyle>
          <a:p>
            <a:pPr lvl="0"/>
            <a:r>
              <a:rPr lang="en-US"/>
              <a:t>Sourc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EB1F32BF-C6CD-47BB-A838-EDEA98434CF9}"/>
              </a:ext>
            </a:extLst>
          </p:cNvPr>
          <p:cNvSpPr>
            <a:spLocks noGrp="1"/>
          </p:cNvSpPr>
          <p:nvPr>
            <p:ph type="body" sz="quarter" idx="19" hasCustomPrompt="1"/>
            <p:custDataLst>
              <p:tags r:id="rId5"/>
            </p:custDataLst>
          </p:nvPr>
        </p:nvSpPr>
        <p:spPr>
          <a:xfrm>
            <a:off x="324191" y="176395"/>
            <a:ext cx="7772400" cy="123111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i="0" u="none" strike="noStrike" cap="all" spc="0" dirty="0">
                <a:ln>
                  <a:noFill/>
                </a:ln>
                <a:solidFill>
                  <a:schemeClr val="accent1"/>
                </a:solidFill>
                <a:latin typeface="Nunito Sans ExtraBold" panose="00000900000000000000" pitchFamily="2" charset="0"/>
                <a:ea typeface="Nunito Sans ExtraBold" panose="00000900000000000000" pitchFamily="2" charset="0"/>
                <a:cs typeface="Nunito Sans ExtraBold" panose="00000900000000000000" pitchFamily="2" charset="0"/>
              </a:defRPr>
            </a:lvl1pPr>
          </a:lstStyle>
          <a:p>
            <a:pPr marR="0" lvl="0" defTabSz="619125">
              <a:lnSpc>
                <a:spcPct val="100000"/>
              </a:lnSpc>
              <a:spcAft>
                <a:spcPts val="0"/>
              </a:spcAft>
              <a:buClrTx/>
              <a:buSzTx/>
            </a:pPr>
            <a:r>
              <a:rPr lang="en-US"/>
              <a:t>TITLE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BFF08F7E-D4AF-443A-8188-F4305ACF8AB6}"/>
              </a:ext>
            </a:extLst>
          </p:cNvPr>
          <p:cNvSpPr>
            <a:spLocks noGrp="1"/>
          </p:cNvSpPr>
          <p:nvPr>
            <p:ph idx="20"/>
            <p:custDataLst>
              <p:tags r:id="rId6"/>
            </p:custDataLst>
          </p:nvPr>
        </p:nvSpPr>
        <p:spPr>
          <a:xfrm>
            <a:off x="5060607" y="1235676"/>
            <a:ext cx="4775200" cy="3971324"/>
          </a:xfrm>
        </p:spPr>
        <p:txBody>
          <a:bodyPr wrap="square">
            <a:noAutofit/>
          </a:bodyPr>
          <a:lstStyle>
            <a:lvl1pPr>
              <a:defRPr lang="en-US" sz="1400" kern="1200" dirty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Nunito Sans" panose="00000500000000000000" pitchFamily="2" charset="0"/>
              </a:defRPr>
            </a:lvl1pPr>
            <a:lvl2pPr marL="427613" indent="-214313">
              <a:defRPr lang="en-US" sz="1400" kern="1200" dirty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Nunito Sans" panose="00000500000000000000" pitchFamily="2" charset="0"/>
              </a:defRPr>
            </a:lvl2pPr>
            <a:lvl3pPr marL="640913" indent="-214313">
              <a:defRPr lang="en-US" sz="1400" kern="1200" dirty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Nunito Sans" panose="00000500000000000000" pitchFamily="2" charset="0"/>
              </a:defRPr>
            </a:lvl3pPr>
            <a:lvl4pPr marL="854213" indent="-214313">
              <a:defRPr lang="en-US" sz="1400" kern="1200" dirty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Nunito Sans" panose="00000500000000000000" pitchFamily="2" charset="0"/>
              </a:defRPr>
            </a:lvl4pPr>
            <a:lvl5pPr marL="1067513" indent="-214313">
              <a:defRPr lang="en-US" sz="1400" kern="1200" dirty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Nunito Sans" panose="00000500000000000000" pitchFamily="2" charset="0"/>
              </a:defRPr>
            </a:lvl5pPr>
          </a:lstStyle>
          <a:p>
            <a:pPr marL="214313" lvl="0" indent="-214313" algn="l" defTabSz="685800" rtl="0" eaLnBrk="1" latinLnBrk="0" hangingPunct="1"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/>
              <a:t>Click to edit Master text styles</a:t>
            </a:r>
          </a:p>
          <a:p>
            <a:pPr marL="214313" lvl="1" indent="-214313" algn="l" defTabSz="685800" rtl="0" eaLnBrk="1" latinLnBrk="0" hangingPunct="1"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/>
              <a:t>Second level</a:t>
            </a:r>
          </a:p>
          <a:p>
            <a:pPr marL="214313" lvl="2" indent="-214313" algn="l" defTabSz="685800" rtl="0" eaLnBrk="1" latinLnBrk="0" hangingPunct="1"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/>
              <a:t>Third level</a:t>
            </a:r>
          </a:p>
          <a:p>
            <a:pPr marL="214313" lvl="3" indent="-214313" algn="l" defTabSz="685800" rtl="0" eaLnBrk="1" latinLnBrk="0" hangingPunct="1"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/>
              <a:t>Fourth level</a:t>
            </a:r>
          </a:p>
          <a:p>
            <a:pPr marL="214313" lvl="4" indent="-214313" algn="l" defTabSz="685800" rtl="0" eaLnBrk="1" latinLnBrk="0" hangingPunct="1"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0887369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8892481"/>
              </p:ext>
            </p:extLst>
          </p:nvPr>
        </p:nvGraphicFramePr>
        <p:xfrm>
          <a:off x="1" y="0"/>
          <a:ext cx="150832" cy="1199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0832" cy="1199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">
            <a:extLst>
              <a:ext uri="{FF2B5EF4-FFF2-40B4-BE49-F238E27FC236}">
                <a16:creationId xmlns:a16="http://schemas.microsoft.com/office/drawing/2014/main" id="{FC2C859E-EFBB-4305-B7D4-E1E31E541E4C}"/>
              </a:ext>
            </a:extLst>
          </p:cNvPr>
          <p:cNvSpPr txBox="1">
            <a:spLocks/>
          </p:cNvSpPr>
          <p:nvPr userDrawn="1"/>
        </p:nvSpPr>
        <p:spPr bwMode="auto">
          <a:xfrm>
            <a:off x="9787099" y="5453069"/>
            <a:ext cx="144271" cy="138499"/>
          </a:xfrm>
          <a:prstGeom prst="rect">
            <a:avLst/>
          </a:prstGeom>
          <a:ln w="12700">
            <a:miter lim="400000"/>
          </a:ln>
        </p:spPr>
        <p:txBody>
          <a:bodyPr wrap="square" lIns="0" tIns="0" rIns="0" bIns="0">
            <a:noAutofit/>
          </a:bodyPr>
          <a:lstStyle>
            <a:defPPr marL="0" marR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800" b="0" i="0" u="none" strike="noStrike" cap="none" spc="0">
                <a:ln>
                  <a:noFill/>
                </a:ln>
                <a:solidFill>
                  <a:srgbClr val="000000"/>
                </a:solidFill>
              </a:defRPr>
            </a:defPPr>
            <a:lvl1pPr marL="0" marR="0" indent="0" algn="l" defTabSz="825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000" b="0" i="0" u="none" strike="noStrike" cap="none" spc="0">
                <a:ln>
                  <a:noFill/>
                </a:ln>
                <a:solidFill>
                  <a:srgbClr val="6D6868"/>
                </a:solidFill>
                <a:latin typeface="Helvetica Neue Light"/>
                <a:ea typeface="Helvetica Neue Light"/>
                <a:cs typeface="Helvetica Neue Light"/>
              </a:defRPr>
            </a:lvl1pPr>
            <a:lvl2pPr marL="0" marR="0" indent="228600" algn="ctr" defTabSz="825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3000" b="1" i="0" u="none" strike="noStrike" cap="none" spc="0">
                <a:ln>
                  <a:noFill/>
                </a:ln>
                <a:solidFill>
                  <a:srgbClr val="000000"/>
                </a:solidFill>
                <a:latin typeface="Helvetica Neue"/>
                <a:ea typeface="Helvetica Neue"/>
                <a:cs typeface="Helvetica Neue"/>
              </a:defRPr>
            </a:lvl2pPr>
            <a:lvl3pPr marL="0" marR="0" indent="457200" algn="ctr" defTabSz="825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3000" b="1" i="0" u="none" strike="noStrike" cap="none" spc="0">
                <a:ln>
                  <a:noFill/>
                </a:ln>
                <a:solidFill>
                  <a:srgbClr val="000000"/>
                </a:solidFill>
                <a:latin typeface="Helvetica Neue"/>
                <a:ea typeface="Helvetica Neue"/>
                <a:cs typeface="Helvetica Neue"/>
              </a:defRPr>
            </a:lvl3pPr>
            <a:lvl4pPr marL="0" marR="0" indent="685800" algn="ctr" defTabSz="825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3000" b="1" i="0" u="none" strike="noStrike" cap="none" spc="0">
                <a:ln>
                  <a:noFill/>
                </a:ln>
                <a:solidFill>
                  <a:srgbClr val="000000"/>
                </a:solidFill>
                <a:latin typeface="Helvetica Neue"/>
                <a:ea typeface="Helvetica Neue"/>
                <a:cs typeface="Helvetica Neue"/>
              </a:defRPr>
            </a:lvl4pPr>
            <a:lvl5pPr marL="0" marR="0" indent="914400" algn="ctr" defTabSz="825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3000" b="1" i="0" u="none" strike="noStrike" cap="none" spc="0">
                <a:ln>
                  <a:noFill/>
                </a:ln>
                <a:solidFill>
                  <a:srgbClr val="000000"/>
                </a:solidFill>
                <a:latin typeface="Helvetica Neue"/>
                <a:ea typeface="Helvetica Neue"/>
                <a:cs typeface="Helvetica Neue"/>
              </a:defRPr>
            </a:lvl5pPr>
            <a:lvl6pPr marL="0" marR="0" indent="1143000" algn="ctr" defTabSz="825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3000" b="1" i="0" u="none" strike="noStrike" cap="none" spc="0">
                <a:ln>
                  <a:noFill/>
                </a:ln>
                <a:solidFill>
                  <a:srgbClr val="000000"/>
                </a:solidFill>
                <a:latin typeface="Helvetica Neue"/>
                <a:ea typeface="Helvetica Neue"/>
                <a:cs typeface="Helvetica Neue"/>
              </a:defRPr>
            </a:lvl6pPr>
            <a:lvl7pPr marL="0" marR="0" indent="1371600" algn="ctr" defTabSz="825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3000" b="1" i="0" u="none" strike="noStrike" cap="none" spc="0">
                <a:ln>
                  <a:noFill/>
                </a:ln>
                <a:solidFill>
                  <a:srgbClr val="000000"/>
                </a:solidFill>
                <a:latin typeface="Helvetica Neue"/>
                <a:ea typeface="Helvetica Neue"/>
                <a:cs typeface="Helvetica Neue"/>
              </a:defRPr>
            </a:lvl7pPr>
            <a:lvl8pPr marL="0" marR="0" indent="1600200" algn="ctr" defTabSz="825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3000" b="1" i="0" u="none" strike="noStrike" cap="none" spc="0">
                <a:ln>
                  <a:noFill/>
                </a:ln>
                <a:solidFill>
                  <a:srgbClr val="000000"/>
                </a:solidFill>
                <a:latin typeface="Helvetica Neue"/>
                <a:ea typeface="Helvetica Neue"/>
                <a:cs typeface="Helvetica Neue"/>
              </a:defRPr>
            </a:lvl8pPr>
            <a:lvl9pPr marL="0" marR="0" indent="1828800" algn="ctr" defTabSz="825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3000" b="1" i="0" u="none" strike="noStrike" cap="none" spc="0">
                <a:ln>
                  <a:noFill/>
                </a:ln>
                <a:solidFill>
                  <a:srgbClr val="000000"/>
                </a:solidFill>
                <a:latin typeface="Helvetica Neue"/>
                <a:ea typeface="Helvetica Neue"/>
                <a:cs typeface="Helvetica Neue"/>
              </a:defRPr>
            </a:lvl9pPr>
          </a:lstStyle>
          <a:p>
            <a:pPr algn="r">
              <a:defRPr/>
            </a:pPr>
            <a:fld id="{86CB4B4D-7CA3-9044-876B-883B54F8677D}" type="slidenum">
              <a:rPr lang="en-IN" sz="675" b="0" i="0" u="none" strike="noStrike" kern="1200" cap="none" spc="0" smtClean="0">
                <a:ln>
                  <a:noFill/>
                </a:ln>
                <a:solidFill>
                  <a:schemeClr val="tx1"/>
                </a:solidFill>
                <a:latin typeface="+mn-lt"/>
              </a:rPr>
              <a:pPr algn="r">
                <a:defRPr/>
              </a:pPr>
              <a:t>‹#›</a:t>
            </a:fld>
            <a:endParaRPr lang="en-IN" sz="675" b="0" i="0" u="none" strike="noStrike" kern="1200" cap="none" spc="0">
              <a:ln>
                <a:noFill/>
              </a:ln>
              <a:solidFill>
                <a:schemeClr val="tx1"/>
              </a:solidFill>
              <a:latin typeface="+mn-lt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FFF4CD02-65A6-4C65-9193-88413F48745B}"/>
              </a:ext>
            </a:extLst>
          </p:cNvPr>
          <p:cNvCxnSpPr>
            <a:cxnSpLocks/>
          </p:cNvCxnSpPr>
          <p:nvPr userDrawn="1"/>
        </p:nvCxnSpPr>
        <p:spPr>
          <a:xfrm>
            <a:off x="9754572" y="5453069"/>
            <a:ext cx="0" cy="26193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003D333E-D485-D8AD-116E-691D78D66E40}"/>
              </a:ext>
            </a:extLst>
          </p:cNvPr>
          <p:cNvSpPr/>
          <p:nvPr userDrawn="1"/>
        </p:nvSpPr>
        <p:spPr>
          <a:xfrm>
            <a:off x="5921829" y="1"/>
            <a:ext cx="4238171" cy="5714999"/>
          </a:xfrm>
          <a:custGeom>
            <a:avLst/>
            <a:gdLst>
              <a:gd name="connsiteX0" fmla="*/ 1492124 w 4238171"/>
              <a:gd name="connsiteY0" fmla="*/ 0 h 5714999"/>
              <a:gd name="connsiteX1" fmla="*/ 2399954 w 4238171"/>
              <a:gd name="connsiteY1" fmla="*/ 0 h 5714999"/>
              <a:gd name="connsiteX2" fmla="*/ 2399954 w 4238171"/>
              <a:gd name="connsiteY2" fmla="*/ 1583015 h 5714999"/>
              <a:gd name="connsiteX3" fmla="*/ 4238171 w 4238171"/>
              <a:gd name="connsiteY3" fmla="*/ 1583015 h 5714999"/>
              <a:gd name="connsiteX4" fmla="*/ 4238171 w 4238171"/>
              <a:gd name="connsiteY4" fmla="*/ 3290002 h 5714999"/>
              <a:gd name="connsiteX5" fmla="*/ 3175707 w 4238171"/>
              <a:gd name="connsiteY5" fmla="*/ 5714999 h 5714999"/>
              <a:gd name="connsiteX6" fmla="*/ 2399954 w 4238171"/>
              <a:gd name="connsiteY6" fmla="*/ 5714999 h 5714999"/>
              <a:gd name="connsiteX7" fmla="*/ 2399954 w 4238171"/>
              <a:gd name="connsiteY7" fmla="*/ 3830530 h 5714999"/>
              <a:gd name="connsiteX8" fmla="*/ 155673 w 4238171"/>
              <a:gd name="connsiteY8" fmla="*/ 3830530 h 5714999"/>
              <a:gd name="connsiteX9" fmla="*/ 0 w 4238171"/>
              <a:gd name="connsiteY9" fmla="*/ 3405665 h 5714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238171" h="5714999">
                <a:moveTo>
                  <a:pt x="1492124" y="0"/>
                </a:moveTo>
                <a:lnTo>
                  <a:pt x="2399954" y="0"/>
                </a:lnTo>
                <a:lnTo>
                  <a:pt x="2399954" y="1583015"/>
                </a:lnTo>
                <a:lnTo>
                  <a:pt x="4238171" y="1583015"/>
                </a:lnTo>
                <a:lnTo>
                  <a:pt x="4238171" y="3290002"/>
                </a:lnTo>
                <a:lnTo>
                  <a:pt x="3175707" y="5714999"/>
                </a:lnTo>
                <a:lnTo>
                  <a:pt x="2399954" y="5714999"/>
                </a:lnTo>
                <a:lnTo>
                  <a:pt x="2399954" y="3830530"/>
                </a:lnTo>
                <a:lnTo>
                  <a:pt x="155673" y="3830530"/>
                </a:lnTo>
                <a:lnTo>
                  <a:pt x="0" y="3405665"/>
                </a:lnTo>
                <a:close/>
              </a:path>
            </a:pathLst>
          </a:custGeom>
          <a:solidFill>
            <a:schemeClr val="tx1">
              <a:alpha val="2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055788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C29A1EC2-EBE5-47E0-9F07-BC24E232FF51}"/>
              </a:ext>
            </a:extLst>
          </p:cNvPr>
          <p:cNvSpPr>
            <a:spLocks noChangeAspect="1"/>
          </p:cNvSpPr>
          <p:nvPr userDrawn="1"/>
        </p:nvSpPr>
        <p:spPr>
          <a:xfrm>
            <a:off x="3" y="0"/>
            <a:ext cx="3638551" cy="5715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sz="1800"/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49503" y="1272746"/>
            <a:ext cx="3179500" cy="1035026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5CD2FBBC-2014-47AA-8F96-E67BB8308F3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936133" y="715896"/>
            <a:ext cx="5396555" cy="463987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pic>
        <p:nvPicPr>
          <p:cNvPr id="2" name="Picture 1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4700BF8E-581D-3BBF-C493-FB83419AE02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504" y="4670766"/>
            <a:ext cx="1813673" cy="7396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979301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/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9" y="9"/>
            <a:ext cx="10159999" cy="5714999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tIns="1548000" anchor="ctr"/>
          <a:lstStyle>
            <a:lvl1pPr marL="0" indent="0" algn="ctr">
              <a:buNone/>
              <a:defRPr sz="9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0066363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DAA9561C-D250-497F-8EE3-71599118D6A8}"/>
              </a:ext>
            </a:extLst>
          </p:cNvPr>
          <p:cNvSpPr/>
          <p:nvPr userDrawn="1"/>
        </p:nvSpPr>
        <p:spPr>
          <a:xfrm>
            <a:off x="0" y="0"/>
            <a:ext cx="10160000" cy="5715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8F529512-FBF0-4E31-A4AE-141A44F23158}"/>
              </a:ext>
            </a:extLst>
          </p:cNvPr>
          <p:cNvSpPr/>
          <p:nvPr userDrawn="1"/>
        </p:nvSpPr>
        <p:spPr>
          <a:xfrm>
            <a:off x="0" y="5424"/>
            <a:ext cx="10160000" cy="4635815"/>
          </a:xfrm>
          <a:custGeom>
            <a:avLst/>
            <a:gdLst>
              <a:gd name="connsiteX0" fmla="*/ 0 w 7620000"/>
              <a:gd name="connsiteY0" fmla="*/ 0 h 4635815"/>
              <a:gd name="connsiteX1" fmla="*/ 7620000 w 7620000"/>
              <a:gd name="connsiteY1" fmla="*/ 0 h 4635815"/>
              <a:gd name="connsiteX2" fmla="*/ 7620000 w 7620000"/>
              <a:gd name="connsiteY2" fmla="*/ 199081 h 4635815"/>
              <a:gd name="connsiteX3" fmla="*/ 2603495 w 7620000"/>
              <a:gd name="connsiteY3" fmla="*/ 4635815 h 4635815"/>
              <a:gd name="connsiteX4" fmla="*/ 0 w 7620000"/>
              <a:gd name="connsiteY4" fmla="*/ 2333215 h 46358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20000" h="4635815">
                <a:moveTo>
                  <a:pt x="0" y="0"/>
                </a:moveTo>
                <a:lnTo>
                  <a:pt x="7620000" y="0"/>
                </a:lnTo>
                <a:lnTo>
                  <a:pt x="7620000" y="199081"/>
                </a:lnTo>
                <a:lnTo>
                  <a:pt x="2603495" y="4635815"/>
                </a:lnTo>
                <a:lnTo>
                  <a:pt x="0" y="2333215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IN" sz="1800"/>
          </a:p>
        </p:txBody>
      </p:sp>
      <p:sp>
        <p:nvSpPr>
          <p:cNvPr id="3" name="Рисунок 2"/>
          <p:cNvSpPr>
            <a:spLocks noGrp="1"/>
          </p:cNvSpPr>
          <p:nvPr>
            <p:ph type="pic" sz="quarter" idx="10"/>
          </p:nvPr>
        </p:nvSpPr>
        <p:spPr>
          <a:xfrm>
            <a:off x="0" y="6"/>
            <a:ext cx="10160000" cy="4441369"/>
          </a:xfrm>
          <a:custGeom>
            <a:avLst/>
            <a:gdLst>
              <a:gd name="connsiteX0" fmla="*/ 0 w 17751425"/>
              <a:gd name="connsiteY0" fmla="*/ 0 h 11698582"/>
              <a:gd name="connsiteX1" fmla="*/ 17751425 w 17751425"/>
              <a:gd name="connsiteY1" fmla="*/ 0 h 11698582"/>
              <a:gd name="connsiteX2" fmla="*/ 6052844 w 17751425"/>
              <a:gd name="connsiteY2" fmla="*/ 11698582 h 11698582"/>
              <a:gd name="connsiteX3" fmla="*/ 0 w 17751425"/>
              <a:gd name="connsiteY3" fmla="*/ 5645739 h 11698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751425" h="11698582">
                <a:moveTo>
                  <a:pt x="0" y="0"/>
                </a:moveTo>
                <a:lnTo>
                  <a:pt x="17751425" y="0"/>
                </a:lnTo>
                <a:lnTo>
                  <a:pt x="6052844" y="11698582"/>
                </a:lnTo>
                <a:lnTo>
                  <a:pt x="0" y="5645739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39AEE814-0376-4303-91F1-4201E6594E77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1"/>
            </p:custDataLst>
          </p:nvPr>
        </p:nvSpPr>
        <p:spPr>
          <a:xfrm>
            <a:off x="4896243" y="4405329"/>
            <a:ext cx="4912660" cy="369332"/>
          </a:xfrm>
        </p:spPr>
        <p:txBody>
          <a:bodyPr wrap="square" anchor="b" anchorCtr="0">
            <a:spAutoFit/>
          </a:bodyPr>
          <a:lstStyle>
            <a:lvl1pPr algn="l">
              <a:defRPr sz="24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4CA41ECA-4EB3-45CE-A133-41CC7137C2A7}"/>
              </a:ext>
            </a:extLst>
          </p:cNvPr>
          <p:cNvSpPr>
            <a:spLocks noGrp="1"/>
          </p:cNvSpPr>
          <p:nvPr>
            <p:ph type="body" sz="quarter" idx="14" hasCustomPrompt="1"/>
            <p:custDataLst>
              <p:tags r:id="rId2"/>
            </p:custDataLst>
          </p:nvPr>
        </p:nvSpPr>
        <p:spPr>
          <a:xfrm>
            <a:off x="4896243" y="5001179"/>
            <a:ext cx="4912660" cy="215444"/>
          </a:xfrm>
        </p:spPr>
        <p:txBody>
          <a:bodyPr wrap="square" anchor="t" anchorCtr="0">
            <a:spAutoFit/>
          </a:bodyPr>
          <a:lstStyle>
            <a:lvl1pPr algn="l">
              <a:spcBef>
                <a:spcPts val="450"/>
              </a:spcBef>
              <a:buFontTx/>
              <a:buNone/>
              <a:defRPr sz="1400" b="0" baseline="0">
                <a:solidFill>
                  <a:schemeClr val="bg1"/>
                </a:solidFill>
                <a:latin typeface="+mn-lt"/>
              </a:defRPr>
            </a:lvl1pPr>
            <a:lvl2pPr marL="0" indent="0">
              <a:buFontTx/>
              <a:buNone/>
              <a:defRPr sz="1800">
                <a:solidFill>
                  <a:schemeClr val="bg1"/>
                </a:solidFill>
              </a:defRPr>
            </a:lvl2pPr>
            <a:lvl3pPr marL="171450" indent="0">
              <a:buFontTx/>
              <a:buNone/>
              <a:defRPr sz="1800">
                <a:solidFill>
                  <a:schemeClr val="bg1"/>
                </a:solidFill>
              </a:defRPr>
            </a:lvl3pPr>
            <a:lvl4pPr marL="342900" indent="0">
              <a:buFontTx/>
              <a:buNone/>
              <a:defRPr sz="1800">
                <a:solidFill>
                  <a:schemeClr val="bg1"/>
                </a:solidFill>
              </a:defRPr>
            </a:lvl4pPr>
            <a:lvl5pPr marL="514350" indent="0">
              <a:buFontTx/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subtitle</a:t>
            </a:r>
          </a:p>
        </p:txBody>
      </p:sp>
      <p:pic>
        <p:nvPicPr>
          <p:cNvPr id="5" name="Picture 4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76AA4D5D-CD37-4A12-99E2-605BE811D9D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6341" y="4443369"/>
            <a:ext cx="2230669" cy="909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425723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1418579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4191" y="423411"/>
            <a:ext cx="9511552" cy="67710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24191" y="1800491"/>
            <a:ext cx="3486696" cy="323397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241642" y="1800491"/>
            <a:ext cx="3486695" cy="323397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8176028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42"/>
          <p:cNvSpPr txBox="1">
            <a:spLocks noGrp="1"/>
          </p:cNvSpPr>
          <p:nvPr>
            <p:ph type="ctrTitle"/>
          </p:nvPr>
        </p:nvSpPr>
        <p:spPr>
          <a:xfrm>
            <a:off x="346342" y="827305"/>
            <a:ext cx="9467333" cy="22806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5778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5778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5778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5778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5778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5778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5778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5778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5778"/>
            </a:lvl9pPr>
          </a:lstStyle>
          <a:p>
            <a:endParaRPr/>
          </a:p>
        </p:txBody>
      </p:sp>
      <p:sp>
        <p:nvSpPr>
          <p:cNvPr id="11" name="Google Shape;11;p42"/>
          <p:cNvSpPr txBox="1">
            <a:spLocks noGrp="1"/>
          </p:cNvSpPr>
          <p:nvPr>
            <p:ph type="subTitle" idx="1"/>
          </p:nvPr>
        </p:nvSpPr>
        <p:spPr>
          <a:xfrm>
            <a:off x="346334" y="3149028"/>
            <a:ext cx="9467333" cy="8806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111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111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111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111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111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111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111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111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111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85442855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 preserve="1" userDrawn="1">
  <p:cSld name="1_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232EBFF2-07BD-C80F-09A3-D205FBD5F38E}"/>
              </a:ext>
            </a:extLst>
          </p:cNvPr>
          <p:cNvCxnSpPr>
            <a:cxnSpLocks/>
          </p:cNvCxnSpPr>
          <p:nvPr userDrawn="1"/>
        </p:nvCxnSpPr>
        <p:spPr>
          <a:xfrm>
            <a:off x="9753600" y="5463000"/>
            <a:ext cx="0" cy="252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Graphic 5">
            <a:extLst>
              <a:ext uri="{FF2B5EF4-FFF2-40B4-BE49-F238E27FC236}">
                <a16:creationId xmlns:a16="http://schemas.microsoft.com/office/drawing/2014/main" id="{2F0E878D-6D36-4D76-453D-7F1F33E50A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t="20153" r="9295" b="29527"/>
          <a:stretch/>
        </p:blipFill>
        <p:spPr>
          <a:xfrm>
            <a:off x="5776687" y="1"/>
            <a:ext cx="4383313" cy="5715000"/>
          </a:xfrm>
          <a:prstGeom prst="rect">
            <a:avLst/>
          </a:prstGeom>
        </p:spPr>
      </p:pic>
      <p:sp>
        <p:nvSpPr>
          <p:cNvPr id="7" name="Slide Number">
            <a:extLst>
              <a:ext uri="{FF2B5EF4-FFF2-40B4-BE49-F238E27FC236}">
                <a16:creationId xmlns:a16="http://schemas.microsoft.com/office/drawing/2014/main" id="{5BB0D0CF-36F4-EAE0-73B4-47907A74C7E3}"/>
              </a:ext>
            </a:extLst>
          </p:cNvPr>
          <p:cNvSpPr txBox="1">
            <a:spLocks/>
          </p:cNvSpPr>
          <p:nvPr userDrawn="1"/>
        </p:nvSpPr>
        <p:spPr>
          <a:xfrm>
            <a:off x="9803127" y="5453069"/>
            <a:ext cx="128240" cy="103875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600" smtClean="0"/>
              <a:pPr lvl="0" algn="r"/>
              <a:t>‹#›</a:t>
            </a:fld>
            <a:endParaRPr lang="en-US" sz="600"/>
          </a:p>
        </p:txBody>
      </p:sp>
    </p:spTree>
    <p:extLst>
      <p:ext uri="{BB962C8B-B14F-4D97-AF65-F5344CB8AC3E}">
        <p14:creationId xmlns:p14="http://schemas.microsoft.com/office/powerpoint/2010/main" val="3522539000"/>
      </p:ext>
    </p:extLst>
  </p:cSld>
  <p:clrMapOvr>
    <a:masterClrMapping/>
  </p:clrMapOvr>
  <p:hf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 preserve="1" userDrawn="1">
  <p:cSld name="1_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232EBFF2-07BD-C80F-09A3-D205FBD5F38E}"/>
              </a:ext>
            </a:extLst>
          </p:cNvPr>
          <p:cNvCxnSpPr>
            <a:cxnSpLocks/>
          </p:cNvCxnSpPr>
          <p:nvPr userDrawn="1"/>
        </p:nvCxnSpPr>
        <p:spPr>
          <a:xfrm>
            <a:off x="9753600" y="5463000"/>
            <a:ext cx="0" cy="252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">
            <a:extLst>
              <a:ext uri="{FF2B5EF4-FFF2-40B4-BE49-F238E27FC236}">
                <a16:creationId xmlns:a16="http://schemas.microsoft.com/office/drawing/2014/main" id="{5BB0D0CF-36F4-EAE0-73B4-47907A74C7E3}"/>
              </a:ext>
            </a:extLst>
          </p:cNvPr>
          <p:cNvSpPr txBox="1">
            <a:spLocks/>
          </p:cNvSpPr>
          <p:nvPr userDrawn="1"/>
        </p:nvSpPr>
        <p:spPr>
          <a:xfrm>
            <a:off x="9803127" y="5453069"/>
            <a:ext cx="128240" cy="103875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600" smtClean="0"/>
              <a:pPr lvl="0" algn="r"/>
              <a:t>‹#›</a:t>
            </a:fld>
            <a:endParaRPr lang="en-US" sz="600"/>
          </a:p>
        </p:txBody>
      </p:sp>
    </p:spTree>
    <p:extLst>
      <p:ext uri="{BB962C8B-B14F-4D97-AF65-F5344CB8AC3E}">
        <p14:creationId xmlns:p14="http://schemas.microsoft.com/office/powerpoint/2010/main" val="1919047287"/>
      </p:ext>
    </p:extLst>
  </p:cSld>
  <p:clrMapOvr>
    <a:masterClrMapping/>
  </p:clrMapOvr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2755766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18"/>
          <p:cNvSpPr txBox="1">
            <a:spLocks noGrp="1"/>
          </p:cNvSpPr>
          <p:nvPr>
            <p:ph type="title"/>
          </p:nvPr>
        </p:nvSpPr>
        <p:spPr>
          <a:xfrm>
            <a:off x="346334" y="494472"/>
            <a:ext cx="9467333" cy="6363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Font typeface="Nunito Sans ExtraBold"/>
              <a:buNone/>
              <a:defRPr>
                <a:latin typeface="Nunito Sans ExtraBold"/>
                <a:ea typeface="Nunito Sans ExtraBold"/>
                <a:cs typeface="Nunito Sans ExtraBold"/>
                <a:sym typeface="Nunito Sans ExtraBold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5" name="Google Shape;15;p18"/>
          <p:cNvSpPr txBox="1">
            <a:spLocks noGrp="1"/>
          </p:cNvSpPr>
          <p:nvPr>
            <p:ph type="body" idx="1"/>
          </p:nvPr>
        </p:nvSpPr>
        <p:spPr>
          <a:xfrm>
            <a:off x="346334" y="1280528"/>
            <a:ext cx="9467333" cy="37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507995" lvl="0" indent="-380996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Font typeface="Nunito Sans"/>
              <a:buChar char="●"/>
              <a:defRPr>
                <a:latin typeface="Nunito Sans"/>
                <a:ea typeface="Nunito Sans"/>
                <a:cs typeface="Nunito Sans"/>
                <a:sym typeface="Nunito Sans"/>
              </a:defRPr>
            </a:lvl1pPr>
            <a:lvl2pPr marL="1015990" lvl="1" indent="-35277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Nunito Sans"/>
              <a:buChar char="○"/>
              <a:defRPr>
                <a:latin typeface="Nunito Sans"/>
                <a:ea typeface="Nunito Sans"/>
                <a:cs typeface="Nunito Sans"/>
                <a:sym typeface="Nunito Sans"/>
              </a:defRPr>
            </a:lvl2pPr>
            <a:lvl3pPr marL="1523985" lvl="2" indent="-35277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Nunito Sans"/>
              <a:buChar char="■"/>
              <a:defRPr>
                <a:latin typeface="Nunito Sans"/>
                <a:ea typeface="Nunito Sans"/>
                <a:cs typeface="Nunito Sans"/>
                <a:sym typeface="Nunito Sans"/>
              </a:defRPr>
            </a:lvl3pPr>
            <a:lvl4pPr marL="2031980" lvl="3" indent="-35277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Nunito Sans"/>
              <a:buChar char="●"/>
              <a:defRPr>
                <a:latin typeface="Nunito Sans"/>
                <a:ea typeface="Nunito Sans"/>
                <a:cs typeface="Nunito Sans"/>
                <a:sym typeface="Nunito Sans"/>
              </a:defRPr>
            </a:lvl4pPr>
            <a:lvl5pPr marL="2539975" lvl="4" indent="-35277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Nunito Sans"/>
              <a:buChar char="○"/>
              <a:defRPr>
                <a:latin typeface="Nunito Sans"/>
                <a:ea typeface="Nunito Sans"/>
                <a:cs typeface="Nunito Sans"/>
                <a:sym typeface="Nunito Sans"/>
              </a:defRPr>
            </a:lvl5pPr>
            <a:lvl6pPr marL="3047970" lvl="5" indent="-35277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Nunito Sans"/>
              <a:buChar char="■"/>
              <a:defRPr>
                <a:latin typeface="Nunito Sans"/>
                <a:ea typeface="Nunito Sans"/>
                <a:cs typeface="Nunito Sans"/>
                <a:sym typeface="Nunito Sans"/>
              </a:defRPr>
            </a:lvl6pPr>
            <a:lvl7pPr marL="3555964" lvl="6" indent="-35277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Nunito Sans"/>
              <a:buChar char="●"/>
              <a:defRPr>
                <a:latin typeface="Nunito Sans"/>
                <a:ea typeface="Nunito Sans"/>
                <a:cs typeface="Nunito Sans"/>
                <a:sym typeface="Nunito Sans"/>
              </a:defRPr>
            </a:lvl7pPr>
            <a:lvl8pPr marL="4063959" lvl="7" indent="-35277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Nunito Sans"/>
              <a:buChar char="○"/>
              <a:defRPr>
                <a:latin typeface="Nunito Sans"/>
                <a:ea typeface="Nunito Sans"/>
                <a:cs typeface="Nunito Sans"/>
                <a:sym typeface="Nunito Sans"/>
              </a:defRPr>
            </a:lvl8pPr>
            <a:lvl9pPr marL="4571954" lvl="8" indent="-35277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Font typeface="Nunito Sans"/>
              <a:buChar char="■"/>
              <a:defRPr>
                <a:latin typeface="Nunito Sans"/>
                <a:ea typeface="Nunito Sans"/>
                <a:cs typeface="Nunito Sans"/>
                <a:sym typeface="Nunito Sans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88033886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2:1 No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4" name="Group 153"/>
          <p:cNvGrpSpPr/>
          <p:nvPr userDrawn="1"/>
        </p:nvGrpSpPr>
        <p:grpSpPr>
          <a:xfrm>
            <a:off x="-168138" y="-117637"/>
            <a:ext cx="10488803" cy="5947106"/>
            <a:chOff x="-151325" y="-141165"/>
            <a:chExt cx="9439923" cy="7136527"/>
          </a:xfrm>
        </p:grpSpPr>
        <p:grpSp>
          <p:nvGrpSpPr>
            <p:cNvPr id="155" name="Group 154"/>
            <p:cNvGrpSpPr/>
            <p:nvPr userDrawn="1"/>
          </p:nvGrpSpPr>
          <p:grpSpPr>
            <a:xfrm>
              <a:off x="457731" y="6873247"/>
              <a:ext cx="8226688" cy="122115"/>
              <a:chOff x="457731" y="6582508"/>
              <a:chExt cx="8226688" cy="486507"/>
            </a:xfrm>
          </p:grpSpPr>
          <p:cxnSp>
            <p:nvCxnSpPr>
              <p:cNvPr id="264" name="Straight Connector 263"/>
              <p:cNvCxnSpPr/>
              <p:nvPr userDrawn="1"/>
            </p:nvCxnSpPr>
            <p:spPr>
              <a:xfrm>
                <a:off x="457731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5" name="Straight Connector 264"/>
              <p:cNvCxnSpPr/>
              <p:nvPr userDrawn="1"/>
            </p:nvCxnSpPr>
            <p:spPr>
              <a:xfrm>
                <a:off x="8684419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266" name="Group 265"/>
              <p:cNvGrpSpPr/>
              <p:nvPr userDrawn="1"/>
            </p:nvGrpSpPr>
            <p:grpSpPr>
              <a:xfrm>
                <a:off x="7986158" y="6582508"/>
                <a:ext cx="152400" cy="486507"/>
                <a:chOff x="7983415" y="6582508"/>
                <a:chExt cx="152400" cy="486507"/>
              </a:xfrm>
            </p:grpSpPr>
            <p:cxnSp>
              <p:nvCxnSpPr>
                <p:cNvPr id="297" name="Straight Connector 296"/>
                <p:cNvCxnSpPr/>
                <p:nvPr userDrawn="1"/>
              </p:nvCxnSpPr>
              <p:spPr>
                <a:xfrm>
                  <a:off x="8135815" y="6582508"/>
                  <a:ext cx="0" cy="486507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8" name="Straight Connector 297"/>
                <p:cNvCxnSpPr/>
                <p:nvPr userDrawn="1"/>
              </p:nvCxnSpPr>
              <p:spPr>
                <a:xfrm>
                  <a:off x="7983415" y="6582508"/>
                  <a:ext cx="0" cy="486507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67" name="Group 266"/>
              <p:cNvGrpSpPr/>
              <p:nvPr userDrawn="1"/>
            </p:nvGrpSpPr>
            <p:grpSpPr>
              <a:xfrm>
                <a:off x="7287901" y="6582508"/>
                <a:ext cx="152400" cy="486507"/>
                <a:chOff x="7983415" y="6582508"/>
                <a:chExt cx="152400" cy="486507"/>
              </a:xfrm>
            </p:grpSpPr>
            <p:cxnSp>
              <p:nvCxnSpPr>
                <p:cNvPr id="295" name="Straight Connector 294"/>
                <p:cNvCxnSpPr/>
                <p:nvPr userDrawn="1"/>
              </p:nvCxnSpPr>
              <p:spPr>
                <a:xfrm>
                  <a:off x="8135815" y="6582508"/>
                  <a:ext cx="0" cy="486507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6" name="Straight Connector 295"/>
                <p:cNvCxnSpPr/>
                <p:nvPr userDrawn="1"/>
              </p:nvCxnSpPr>
              <p:spPr>
                <a:xfrm>
                  <a:off x="7983415" y="6582508"/>
                  <a:ext cx="0" cy="486507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68" name="Group 267"/>
              <p:cNvGrpSpPr/>
              <p:nvPr userDrawn="1"/>
            </p:nvGrpSpPr>
            <p:grpSpPr>
              <a:xfrm>
                <a:off x="6589644" y="6582508"/>
                <a:ext cx="152400" cy="486507"/>
                <a:chOff x="7983415" y="6582508"/>
                <a:chExt cx="152400" cy="486507"/>
              </a:xfrm>
            </p:grpSpPr>
            <p:cxnSp>
              <p:nvCxnSpPr>
                <p:cNvPr id="293" name="Straight Connector 292"/>
                <p:cNvCxnSpPr/>
                <p:nvPr userDrawn="1"/>
              </p:nvCxnSpPr>
              <p:spPr>
                <a:xfrm>
                  <a:off x="8135815" y="6582508"/>
                  <a:ext cx="0" cy="486507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4" name="Straight Connector 293"/>
                <p:cNvCxnSpPr/>
                <p:nvPr userDrawn="1"/>
              </p:nvCxnSpPr>
              <p:spPr>
                <a:xfrm>
                  <a:off x="7983415" y="6582508"/>
                  <a:ext cx="0" cy="486507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69" name="Group 268"/>
              <p:cNvGrpSpPr/>
              <p:nvPr userDrawn="1"/>
            </p:nvGrpSpPr>
            <p:grpSpPr>
              <a:xfrm>
                <a:off x="5891387" y="6582508"/>
                <a:ext cx="152400" cy="486507"/>
                <a:chOff x="7983415" y="6582508"/>
                <a:chExt cx="152400" cy="486507"/>
              </a:xfrm>
            </p:grpSpPr>
            <p:cxnSp>
              <p:nvCxnSpPr>
                <p:cNvPr id="291" name="Straight Connector 290"/>
                <p:cNvCxnSpPr/>
                <p:nvPr userDrawn="1"/>
              </p:nvCxnSpPr>
              <p:spPr>
                <a:xfrm>
                  <a:off x="8135815" y="6582508"/>
                  <a:ext cx="0" cy="486507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2" name="Straight Connector 291"/>
                <p:cNvCxnSpPr/>
                <p:nvPr userDrawn="1"/>
              </p:nvCxnSpPr>
              <p:spPr>
                <a:xfrm>
                  <a:off x="7983415" y="6582508"/>
                  <a:ext cx="0" cy="486507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70" name="Group 269"/>
              <p:cNvGrpSpPr/>
              <p:nvPr userDrawn="1"/>
            </p:nvGrpSpPr>
            <p:grpSpPr>
              <a:xfrm>
                <a:off x="5193130" y="6582508"/>
                <a:ext cx="152400" cy="486507"/>
                <a:chOff x="7983415" y="6582508"/>
                <a:chExt cx="152400" cy="486507"/>
              </a:xfrm>
            </p:grpSpPr>
            <p:cxnSp>
              <p:nvCxnSpPr>
                <p:cNvPr id="289" name="Straight Connector 288"/>
                <p:cNvCxnSpPr/>
                <p:nvPr userDrawn="1"/>
              </p:nvCxnSpPr>
              <p:spPr>
                <a:xfrm>
                  <a:off x="8135815" y="6582508"/>
                  <a:ext cx="0" cy="486507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0" name="Straight Connector 289"/>
                <p:cNvCxnSpPr/>
                <p:nvPr userDrawn="1"/>
              </p:nvCxnSpPr>
              <p:spPr>
                <a:xfrm>
                  <a:off x="7983415" y="6582508"/>
                  <a:ext cx="0" cy="486507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71" name="Group 270"/>
              <p:cNvGrpSpPr/>
              <p:nvPr userDrawn="1"/>
            </p:nvGrpSpPr>
            <p:grpSpPr>
              <a:xfrm>
                <a:off x="4494873" y="6582508"/>
                <a:ext cx="152400" cy="486507"/>
                <a:chOff x="7983415" y="6582508"/>
                <a:chExt cx="152400" cy="486507"/>
              </a:xfrm>
            </p:grpSpPr>
            <p:cxnSp>
              <p:nvCxnSpPr>
                <p:cNvPr id="287" name="Straight Connector 286"/>
                <p:cNvCxnSpPr/>
                <p:nvPr userDrawn="1"/>
              </p:nvCxnSpPr>
              <p:spPr>
                <a:xfrm>
                  <a:off x="8135815" y="6582508"/>
                  <a:ext cx="0" cy="486507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8" name="Straight Connector 287"/>
                <p:cNvCxnSpPr/>
                <p:nvPr userDrawn="1"/>
              </p:nvCxnSpPr>
              <p:spPr>
                <a:xfrm>
                  <a:off x="7983415" y="6582508"/>
                  <a:ext cx="0" cy="486507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72" name="Group 271"/>
              <p:cNvGrpSpPr/>
              <p:nvPr userDrawn="1"/>
            </p:nvGrpSpPr>
            <p:grpSpPr>
              <a:xfrm>
                <a:off x="3796616" y="6582508"/>
                <a:ext cx="152400" cy="486507"/>
                <a:chOff x="7983415" y="6582508"/>
                <a:chExt cx="152400" cy="486507"/>
              </a:xfrm>
            </p:grpSpPr>
            <p:cxnSp>
              <p:nvCxnSpPr>
                <p:cNvPr id="285" name="Straight Connector 284"/>
                <p:cNvCxnSpPr/>
                <p:nvPr userDrawn="1"/>
              </p:nvCxnSpPr>
              <p:spPr>
                <a:xfrm>
                  <a:off x="8135815" y="6582508"/>
                  <a:ext cx="0" cy="486507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6" name="Straight Connector 285"/>
                <p:cNvCxnSpPr/>
                <p:nvPr userDrawn="1"/>
              </p:nvCxnSpPr>
              <p:spPr>
                <a:xfrm>
                  <a:off x="7983415" y="6582508"/>
                  <a:ext cx="0" cy="486507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73" name="Group 272"/>
              <p:cNvGrpSpPr/>
              <p:nvPr userDrawn="1"/>
            </p:nvGrpSpPr>
            <p:grpSpPr>
              <a:xfrm>
                <a:off x="3098359" y="6582508"/>
                <a:ext cx="152400" cy="486507"/>
                <a:chOff x="7983415" y="6582508"/>
                <a:chExt cx="152400" cy="486507"/>
              </a:xfrm>
            </p:grpSpPr>
            <p:cxnSp>
              <p:nvCxnSpPr>
                <p:cNvPr id="283" name="Straight Connector 282"/>
                <p:cNvCxnSpPr/>
                <p:nvPr userDrawn="1"/>
              </p:nvCxnSpPr>
              <p:spPr>
                <a:xfrm>
                  <a:off x="8135815" y="6582508"/>
                  <a:ext cx="0" cy="486507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4" name="Straight Connector 283"/>
                <p:cNvCxnSpPr/>
                <p:nvPr userDrawn="1"/>
              </p:nvCxnSpPr>
              <p:spPr>
                <a:xfrm>
                  <a:off x="7983415" y="6582508"/>
                  <a:ext cx="0" cy="486507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74" name="Group 273"/>
              <p:cNvGrpSpPr/>
              <p:nvPr userDrawn="1"/>
            </p:nvGrpSpPr>
            <p:grpSpPr>
              <a:xfrm>
                <a:off x="2400102" y="6582508"/>
                <a:ext cx="152400" cy="486507"/>
                <a:chOff x="7983415" y="6582508"/>
                <a:chExt cx="152400" cy="486507"/>
              </a:xfrm>
            </p:grpSpPr>
            <p:cxnSp>
              <p:nvCxnSpPr>
                <p:cNvPr id="281" name="Straight Connector 280"/>
                <p:cNvCxnSpPr/>
                <p:nvPr userDrawn="1"/>
              </p:nvCxnSpPr>
              <p:spPr>
                <a:xfrm>
                  <a:off x="8135815" y="6582508"/>
                  <a:ext cx="0" cy="486507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2" name="Straight Connector 281"/>
                <p:cNvCxnSpPr/>
                <p:nvPr userDrawn="1"/>
              </p:nvCxnSpPr>
              <p:spPr>
                <a:xfrm>
                  <a:off x="7983415" y="6582508"/>
                  <a:ext cx="0" cy="486507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75" name="Group 274"/>
              <p:cNvGrpSpPr/>
              <p:nvPr userDrawn="1"/>
            </p:nvGrpSpPr>
            <p:grpSpPr>
              <a:xfrm>
                <a:off x="1701845" y="6582508"/>
                <a:ext cx="152400" cy="486507"/>
                <a:chOff x="7983415" y="6582508"/>
                <a:chExt cx="152400" cy="486507"/>
              </a:xfrm>
            </p:grpSpPr>
            <p:cxnSp>
              <p:nvCxnSpPr>
                <p:cNvPr id="279" name="Straight Connector 278"/>
                <p:cNvCxnSpPr/>
                <p:nvPr userDrawn="1"/>
              </p:nvCxnSpPr>
              <p:spPr>
                <a:xfrm>
                  <a:off x="8135815" y="6582508"/>
                  <a:ext cx="0" cy="486507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0" name="Straight Connector 279"/>
                <p:cNvCxnSpPr/>
                <p:nvPr userDrawn="1"/>
              </p:nvCxnSpPr>
              <p:spPr>
                <a:xfrm>
                  <a:off x="7983415" y="6582508"/>
                  <a:ext cx="0" cy="486507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76" name="Group 275"/>
              <p:cNvGrpSpPr/>
              <p:nvPr userDrawn="1"/>
            </p:nvGrpSpPr>
            <p:grpSpPr>
              <a:xfrm>
                <a:off x="1003588" y="6582508"/>
                <a:ext cx="152400" cy="486507"/>
                <a:chOff x="7983415" y="6582508"/>
                <a:chExt cx="152400" cy="486507"/>
              </a:xfrm>
            </p:grpSpPr>
            <p:cxnSp>
              <p:nvCxnSpPr>
                <p:cNvPr id="277" name="Straight Connector 276"/>
                <p:cNvCxnSpPr/>
                <p:nvPr userDrawn="1"/>
              </p:nvCxnSpPr>
              <p:spPr>
                <a:xfrm>
                  <a:off x="8135815" y="6582508"/>
                  <a:ext cx="0" cy="486507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8" name="Straight Connector 277"/>
                <p:cNvCxnSpPr/>
                <p:nvPr userDrawn="1"/>
              </p:nvCxnSpPr>
              <p:spPr>
                <a:xfrm>
                  <a:off x="7983415" y="6582508"/>
                  <a:ext cx="0" cy="486507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156" name="Group 155"/>
            <p:cNvGrpSpPr/>
            <p:nvPr userDrawn="1"/>
          </p:nvGrpSpPr>
          <p:grpSpPr>
            <a:xfrm>
              <a:off x="-151325" y="454007"/>
              <a:ext cx="122115" cy="5945205"/>
              <a:chOff x="-238875" y="454007"/>
              <a:chExt cx="122115" cy="5945205"/>
            </a:xfrm>
          </p:grpSpPr>
          <p:cxnSp>
            <p:nvCxnSpPr>
              <p:cNvPr id="229" name="Straight Connector 228"/>
              <p:cNvCxnSpPr/>
              <p:nvPr userDrawn="1"/>
            </p:nvCxnSpPr>
            <p:spPr>
              <a:xfrm rot="5400000">
                <a:off x="-177817" y="392949"/>
                <a:ext cx="0" cy="122115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230" name="Group 229"/>
              <p:cNvGrpSpPr/>
              <p:nvPr userDrawn="1"/>
            </p:nvGrpSpPr>
            <p:grpSpPr>
              <a:xfrm rot="5400000">
                <a:off x="-254017" y="5940709"/>
                <a:ext cx="152400" cy="122115"/>
                <a:chOff x="7983415" y="6582508"/>
                <a:chExt cx="152400" cy="486507"/>
              </a:xfrm>
            </p:grpSpPr>
            <p:cxnSp>
              <p:nvCxnSpPr>
                <p:cNvPr id="262" name="Straight Connector 261"/>
                <p:cNvCxnSpPr/>
                <p:nvPr userDrawn="1"/>
              </p:nvCxnSpPr>
              <p:spPr>
                <a:xfrm>
                  <a:off x="8135815" y="6582508"/>
                  <a:ext cx="0" cy="486507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3" name="Straight Connector 262"/>
                <p:cNvCxnSpPr/>
                <p:nvPr userDrawn="1"/>
              </p:nvCxnSpPr>
              <p:spPr>
                <a:xfrm>
                  <a:off x="7983415" y="6582508"/>
                  <a:ext cx="0" cy="486507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31" name="Group 230"/>
              <p:cNvGrpSpPr/>
              <p:nvPr userDrawn="1"/>
            </p:nvGrpSpPr>
            <p:grpSpPr>
              <a:xfrm rot="5400000">
                <a:off x="-254017" y="5467067"/>
                <a:ext cx="152400" cy="122115"/>
                <a:chOff x="7983415" y="6582508"/>
                <a:chExt cx="152400" cy="486507"/>
              </a:xfrm>
            </p:grpSpPr>
            <p:cxnSp>
              <p:nvCxnSpPr>
                <p:cNvPr id="260" name="Straight Connector 259"/>
                <p:cNvCxnSpPr/>
                <p:nvPr userDrawn="1"/>
              </p:nvCxnSpPr>
              <p:spPr>
                <a:xfrm>
                  <a:off x="8135815" y="6582508"/>
                  <a:ext cx="0" cy="486507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1" name="Straight Connector 260"/>
                <p:cNvCxnSpPr/>
                <p:nvPr userDrawn="1"/>
              </p:nvCxnSpPr>
              <p:spPr>
                <a:xfrm>
                  <a:off x="7983415" y="6582508"/>
                  <a:ext cx="0" cy="486507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32" name="Group 231"/>
              <p:cNvGrpSpPr/>
              <p:nvPr userDrawn="1"/>
            </p:nvGrpSpPr>
            <p:grpSpPr>
              <a:xfrm rot="5400000">
                <a:off x="-254017" y="4993425"/>
                <a:ext cx="152400" cy="122115"/>
                <a:chOff x="7983415" y="6582508"/>
                <a:chExt cx="152400" cy="486507"/>
              </a:xfrm>
            </p:grpSpPr>
            <p:cxnSp>
              <p:nvCxnSpPr>
                <p:cNvPr id="258" name="Straight Connector 257"/>
                <p:cNvCxnSpPr/>
                <p:nvPr userDrawn="1"/>
              </p:nvCxnSpPr>
              <p:spPr>
                <a:xfrm>
                  <a:off x="8135815" y="6582508"/>
                  <a:ext cx="0" cy="486507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9" name="Straight Connector 258"/>
                <p:cNvCxnSpPr/>
                <p:nvPr userDrawn="1"/>
              </p:nvCxnSpPr>
              <p:spPr>
                <a:xfrm>
                  <a:off x="7983415" y="6582508"/>
                  <a:ext cx="0" cy="486507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33" name="Group 232"/>
              <p:cNvGrpSpPr/>
              <p:nvPr userDrawn="1"/>
            </p:nvGrpSpPr>
            <p:grpSpPr>
              <a:xfrm rot="5400000">
                <a:off x="-254017" y="4519783"/>
                <a:ext cx="152400" cy="122115"/>
                <a:chOff x="7983415" y="6582508"/>
                <a:chExt cx="152400" cy="486507"/>
              </a:xfrm>
            </p:grpSpPr>
            <p:cxnSp>
              <p:nvCxnSpPr>
                <p:cNvPr id="256" name="Straight Connector 255"/>
                <p:cNvCxnSpPr/>
                <p:nvPr userDrawn="1"/>
              </p:nvCxnSpPr>
              <p:spPr>
                <a:xfrm>
                  <a:off x="8135815" y="6582508"/>
                  <a:ext cx="0" cy="486507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7" name="Straight Connector 256"/>
                <p:cNvCxnSpPr/>
                <p:nvPr userDrawn="1"/>
              </p:nvCxnSpPr>
              <p:spPr>
                <a:xfrm>
                  <a:off x="7983415" y="6582508"/>
                  <a:ext cx="0" cy="486507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34" name="Group 233"/>
              <p:cNvGrpSpPr/>
              <p:nvPr userDrawn="1"/>
            </p:nvGrpSpPr>
            <p:grpSpPr>
              <a:xfrm rot="5400000">
                <a:off x="-254017" y="4046141"/>
                <a:ext cx="152400" cy="122115"/>
                <a:chOff x="7983415" y="6582508"/>
                <a:chExt cx="152400" cy="486507"/>
              </a:xfrm>
            </p:grpSpPr>
            <p:cxnSp>
              <p:nvCxnSpPr>
                <p:cNvPr id="254" name="Straight Connector 253"/>
                <p:cNvCxnSpPr/>
                <p:nvPr userDrawn="1"/>
              </p:nvCxnSpPr>
              <p:spPr>
                <a:xfrm>
                  <a:off x="8135815" y="6582508"/>
                  <a:ext cx="0" cy="486507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5" name="Straight Connector 254"/>
                <p:cNvCxnSpPr/>
                <p:nvPr userDrawn="1"/>
              </p:nvCxnSpPr>
              <p:spPr>
                <a:xfrm>
                  <a:off x="7983415" y="6582508"/>
                  <a:ext cx="0" cy="486507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35" name="Group 234"/>
              <p:cNvGrpSpPr/>
              <p:nvPr userDrawn="1"/>
            </p:nvGrpSpPr>
            <p:grpSpPr>
              <a:xfrm rot="5400000">
                <a:off x="-254017" y="3572499"/>
                <a:ext cx="152400" cy="122115"/>
                <a:chOff x="7983415" y="6582508"/>
                <a:chExt cx="152400" cy="486507"/>
              </a:xfrm>
            </p:grpSpPr>
            <p:cxnSp>
              <p:nvCxnSpPr>
                <p:cNvPr id="252" name="Straight Connector 251"/>
                <p:cNvCxnSpPr/>
                <p:nvPr userDrawn="1"/>
              </p:nvCxnSpPr>
              <p:spPr>
                <a:xfrm>
                  <a:off x="8135815" y="6582508"/>
                  <a:ext cx="0" cy="486507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3" name="Straight Connector 252"/>
                <p:cNvCxnSpPr/>
                <p:nvPr userDrawn="1"/>
              </p:nvCxnSpPr>
              <p:spPr>
                <a:xfrm>
                  <a:off x="7983415" y="6582508"/>
                  <a:ext cx="0" cy="486507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36" name="Group 235"/>
              <p:cNvGrpSpPr/>
              <p:nvPr userDrawn="1"/>
            </p:nvGrpSpPr>
            <p:grpSpPr>
              <a:xfrm rot="5400000">
                <a:off x="-254017" y="3098857"/>
                <a:ext cx="152400" cy="122115"/>
                <a:chOff x="7983415" y="6582508"/>
                <a:chExt cx="152400" cy="486507"/>
              </a:xfrm>
            </p:grpSpPr>
            <p:cxnSp>
              <p:nvCxnSpPr>
                <p:cNvPr id="250" name="Straight Connector 249"/>
                <p:cNvCxnSpPr/>
                <p:nvPr userDrawn="1"/>
              </p:nvCxnSpPr>
              <p:spPr>
                <a:xfrm>
                  <a:off x="8135815" y="6582508"/>
                  <a:ext cx="0" cy="486507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1" name="Straight Connector 250"/>
                <p:cNvCxnSpPr/>
                <p:nvPr userDrawn="1"/>
              </p:nvCxnSpPr>
              <p:spPr>
                <a:xfrm>
                  <a:off x="7983415" y="6582508"/>
                  <a:ext cx="0" cy="486507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37" name="Group 236"/>
              <p:cNvGrpSpPr/>
              <p:nvPr userDrawn="1"/>
            </p:nvGrpSpPr>
            <p:grpSpPr>
              <a:xfrm rot="5400000">
                <a:off x="-254017" y="2625215"/>
                <a:ext cx="152400" cy="122115"/>
                <a:chOff x="7983415" y="6582508"/>
                <a:chExt cx="152400" cy="486507"/>
              </a:xfrm>
            </p:grpSpPr>
            <p:cxnSp>
              <p:nvCxnSpPr>
                <p:cNvPr id="248" name="Straight Connector 247"/>
                <p:cNvCxnSpPr/>
                <p:nvPr userDrawn="1"/>
              </p:nvCxnSpPr>
              <p:spPr>
                <a:xfrm>
                  <a:off x="8135815" y="6582508"/>
                  <a:ext cx="0" cy="486507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9" name="Straight Connector 248"/>
                <p:cNvCxnSpPr/>
                <p:nvPr userDrawn="1"/>
              </p:nvCxnSpPr>
              <p:spPr>
                <a:xfrm>
                  <a:off x="7983415" y="6582508"/>
                  <a:ext cx="0" cy="486507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38" name="Group 237"/>
              <p:cNvGrpSpPr/>
              <p:nvPr userDrawn="1"/>
            </p:nvGrpSpPr>
            <p:grpSpPr>
              <a:xfrm rot="5400000">
                <a:off x="-254017" y="2151573"/>
                <a:ext cx="152400" cy="122115"/>
                <a:chOff x="7983415" y="6582508"/>
                <a:chExt cx="152400" cy="486507"/>
              </a:xfrm>
            </p:grpSpPr>
            <p:cxnSp>
              <p:nvCxnSpPr>
                <p:cNvPr id="246" name="Straight Connector 245"/>
                <p:cNvCxnSpPr/>
                <p:nvPr userDrawn="1"/>
              </p:nvCxnSpPr>
              <p:spPr>
                <a:xfrm>
                  <a:off x="8135815" y="6582508"/>
                  <a:ext cx="0" cy="486507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7" name="Straight Connector 246"/>
                <p:cNvCxnSpPr/>
                <p:nvPr userDrawn="1"/>
              </p:nvCxnSpPr>
              <p:spPr>
                <a:xfrm>
                  <a:off x="7983415" y="6582508"/>
                  <a:ext cx="0" cy="486507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39" name="Group 238"/>
              <p:cNvGrpSpPr/>
              <p:nvPr userDrawn="1"/>
            </p:nvGrpSpPr>
            <p:grpSpPr>
              <a:xfrm rot="5400000">
                <a:off x="-254017" y="1677931"/>
                <a:ext cx="152400" cy="122115"/>
                <a:chOff x="7983415" y="6582508"/>
                <a:chExt cx="152400" cy="486507"/>
              </a:xfrm>
            </p:grpSpPr>
            <p:cxnSp>
              <p:nvCxnSpPr>
                <p:cNvPr id="244" name="Straight Connector 243"/>
                <p:cNvCxnSpPr/>
                <p:nvPr userDrawn="1"/>
              </p:nvCxnSpPr>
              <p:spPr>
                <a:xfrm>
                  <a:off x="8135815" y="6582508"/>
                  <a:ext cx="0" cy="486507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5" name="Straight Connector 244"/>
                <p:cNvCxnSpPr/>
                <p:nvPr userDrawn="1"/>
              </p:nvCxnSpPr>
              <p:spPr>
                <a:xfrm>
                  <a:off x="7983415" y="6582508"/>
                  <a:ext cx="0" cy="486507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40" name="Group 239"/>
              <p:cNvGrpSpPr/>
              <p:nvPr userDrawn="1"/>
            </p:nvGrpSpPr>
            <p:grpSpPr>
              <a:xfrm rot="5400000">
                <a:off x="-254017" y="997340"/>
                <a:ext cx="152400" cy="122115"/>
                <a:chOff x="7983415" y="6582508"/>
                <a:chExt cx="152400" cy="486507"/>
              </a:xfrm>
            </p:grpSpPr>
            <p:cxnSp>
              <p:nvCxnSpPr>
                <p:cNvPr id="242" name="Straight Connector 241"/>
                <p:cNvCxnSpPr/>
                <p:nvPr userDrawn="1"/>
              </p:nvCxnSpPr>
              <p:spPr>
                <a:xfrm>
                  <a:off x="8135815" y="6582508"/>
                  <a:ext cx="0" cy="486507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3" name="Straight Connector 242"/>
                <p:cNvCxnSpPr/>
                <p:nvPr userDrawn="1"/>
              </p:nvCxnSpPr>
              <p:spPr>
                <a:xfrm>
                  <a:off x="7983415" y="6582508"/>
                  <a:ext cx="0" cy="486507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241" name="Straight Connector 240"/>
              <p:cNvCxnSpPr/>
              <p:nvPr userDrawn="1"/>
            </p:nvCxnSpPr>
            <p:spPr>
              <a:xfrm rot="5400000">
                <a:off x="-177817" y="6338154"/>
                <a:ext cx="0" cy="122115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7" name="Group 156"/>
            <p:cNvGrpSpPr/>
            <p:nvPr userDrawn="1"/>
          </p:nvGrpSpPr>
          <p:grpSpPr>
            <a:xfrm>
              <a:off x="9166483" y="454007"/>
              <a:ext cx="122115" cy="5945205"/>
              <a:chOff x="-238875" y="454007"/>
              <a:chExt cx="122115" cy="5945205"/>
            </a:xfrm>
          </p:grpSpPr>
          <p:cxnSp>
            <p:nvCxnSpPr>
              <p:cNvPr id="194" name="Straight Connector 193"/>
              <p:cNvCxnSpPr/>
              <p:nvPr userDrawn="1"/>
            </p:nvCxnSpPr>
            <p:spPr>
              <a:xfrm rot="5400000">
                <a:off x="-177817" y="392949"/>
                <a:ext cx="0" cy="122115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95" name="Group 194"/>
              <p:cNvGrpSpPr/>
              <p:nvPr userDrawn="1"/>
            </p:nvGrpSpPr>
            <p:grpSpPr>
              <a:xfrm rot="5400000">
                <a:off x="-254017" y="5940709"/>
                <a:ext cx="152400" cy="122115"/>
                <a:chOff x="7983415" y="6582508"/>
                <a:chExt cx="152400" cy="486507"/>
              </a:xfrm>
            </p:grpSpPr>
            <p:cxnSp>
              <p:nvCxnSpPr>
                <p:cNvPr id="227" name="Straight Connector 226"/>
                <p:cNvCxnSpPr/>
                <p:nvPr userDrawn="1"/>
              </p:nvCxnSpPr>
              <p:spPr>
                <a:xfrm>
                  <a:off x="8135815" y="6582508"/>
                  <a:ext cx="0" cy="486507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8" name="Straight Connector 227"/>
                <p:cNvCxnSpPr/>
                <p:nvPr userDrawn="1"/>
              </p:nvCxnSpPr>
              <p:spPr>
                <a:xfrm>
                  <a:off x="7983415" y="6582508"/>
                  <a:ext cx="0" cy="486507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96" name="Group 195"/>
              <p:cNvGrpSpPr/>
              <p:nvPr userDrawn="1"/>
            </p:nvGrpSpPr>
            <p:grpSpPr>
              <a:xfrm rot="5400000">
                <a:off x="-254017" y="5467067"/>
                <a:ext cx="152400" cy="122115"/>
                <a:chOff x="7983415" y="6582508"/>
                <a:chExt cx="152400" cy="486507"/>
              </a:xfrm>
            </p:grpSpPr>
            <p:cxnSp>
              <p:nvCxnSpPr>
                <p:cNvPr id="225" name="Straight Connector 224"/>
                <p:cNvCxnSpPr/>
                <p:nvPr userDrawn="1"/>
              </p:nvCxnSpPr>
              <p:spPr>
                <a:xfrm>
                  <a:off x="8135815" y="6582508"/>
                  <a:ext cx="0" cy="486507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6" name="Straight Connector 225"/>
                <p:cNvCxnSpPr/>
                <p:nvPr userDrawn="1"/>
              </p:nvCxnSpPr>
              <p:spPr>
                <a:xfrm>
                  <a:off x="7983415" y="6582508"/>
                  <a:ext cx="0" cy="486507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97" name="Group 196"/>
              <p:cNvGrpSpPr/>
              <p:nvPr userDrawn="1"/>
            </p:nvGrpSpPr>
            <p:grpSpPr>
              <a:xfrm rot="5400000">
                <a:off x="-254017" y="4993425"/>
                <a:ext cx="152400" cy="122115"/>
                <a:chOff x="7983415" y="6582508"/>
                <a:chExt cx="152400" cy="486507"/>
              </a:xfrm>
            </p:grpSpPr>
            <p:cxnSp>
              <p:nvCxnSpPr>
                <p:cNvPr id="223" name="Straight Connector 222"/>
                <p:cNvCxnSpPr/>
                <p:nvPr userDrawn="1"/>
              </p:nvCxnSpPr>
              <p:spPr>
                <a:xfrm>
                  <a:off x="8135815" y="6582508"/>
                  <a:ext cx="0" cy="486507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4" name="Straight Connector 223"/>
                <p:cNvCxnSpPr/>
                <p:nvPr userDrawn="1"/>
              </p:nvCxnSpPr>
              <p:spPr>
                <a:xfrm>
                  <a:off x="7983415" y="6582508"/>
                  <a:ext cx="0" cy="486507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98" name="Group 197"/>
              <p:cNvGrpSpPr/>
              <p:nvPr userDrawn="1"/>
            </p:nvGrpSpPr>
            <p:grpSpPr>
              <a:xfrm rot="5400000">
                <a:off x="-254017" y="4519783"/>
                <a:ext cx="152400" cy="122115"/>
                <a:chOff x="7983415" y="6582508"/>
                <a:chExt cx="152400" cy="486507"/>
              </a:xfrm>
            </p:grpSpPr>
            <p:cxnSp>
              <p:nvCxnSpPr>
                <p:cNvPr id="221" name="Straight Connector 220"/>
                <p:cNvCxnSpPr/>
                <p:nvPr userDrawn="1"/>
              </p:nvCxnSpPr>
              <p:spPr>
                <a:xfrm>
                  <a:off x="8135815" y="6582508"/>
                  <a:ext cx="0" cy="486507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2" name="Straight Connector 221"/>
                <p:cNvCxnSpPr/>
                <p:nvPr userDrawn="1"/>
              </p:nvCxnSpPr>
              <p:spPr>
                <a:xfrm>
                  <a:off x="7983415" y="6582508"/>
                  <a:ext cx="0" cy="486507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99" name="Group 198"/>
              <p:cNvGrpSpPr/>
              <p:nvPr userDrawn="1"/>
            </p:nvGrpSpPr>
            <p:grpSpPr>
              <a:xfrm rot="5400000">
                <a:off x="-254017" y="4046141"/>
                <a:ext cx="152400" cy="122115"/>
                <a:chOff x="7983415" y="6582508"/>
                <a:chExt cx="152400" cy="486507"/>
              </a:xfrm>
            </p:grpSpPr>
            <p:cxnSp>
              <p:nvCxnSpPr>
                <p:cNvPr id="219" name="Straight Connector 218"/>
                <p:cNvCxnSpPr/>
                <p:nvPr userDrawn="1"/>
              </p:nvCxnSpPr>
              <p:spPr>
                <a:xfrm>
                  <a:off x="8135815" y="6582508"/>
                  <a:ext cx="0" cy="486507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0" name="Straight Connector 219"/>
                <p:cNvCxnSpPr/>
                <p:nvPr userDrawn="1"/>
              </p:nvCxnSpPr>
              <p:spPr>
                <a:xfrm>
                  <a:off x="7983415" y="6582508"/>
                  <a:ext cx="0" cy="486507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00" name="Group 199"/>
              <p:cNvGrpSpPr/>
              <p:nvPr userDrawn="1"/>
            </p:nvGrpSpPr>
            <p:grpSpPr>
              <a:xfrm rot="5400000">
                <a:off x="-254017" y="3572499"/>
                <a:ext cx="152400" cy="122115"/>
                <a:chOff x="7983415" y="6582508"/>
                <a:chExt cx="152400" cy="486507"/>
              </a:xfrm>
            </p:grpSpPr>
            <p:cxnSp>
              <p:nvCxnSpPr>
                <p:cNvPr id="217" name="Straight Connector 216"/>
                <p:cNvCxnSpPr/>
                <p:nvPr userDrawn="1"/>
              </p:nvCxnSpPr>
              <p:spPr>
                <a:xfrm>
                  <a:off x="8135815" y="6582508"/>
                  <a:ext cx="0" cy="486507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8" name="Straight Connector 217"/>
                <p:cNvCxnSpPr/>
                <p:nvPr userDrawn="1"/>
              </p:nvCxnSpPr>
              <p:spPr>
                <a:xfrm>
                  <a:off x="7983415" y="6582508"/>
                  <a:ext cx="0" cy="486507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01" name="Group 200"/>
              <p:cNvGrpSpPr/>
              <p:nvPr userDrawn="1"/>
            </p:nvGrpSpPr>
            <p:grpSpPr>
              <a:xfrm rot="5400000">
                <a:off x="-254017" y="3098857"/>
                <a:ext cx="152400" cy="122115"/>
                <a:chOff x="7983415" y="6582508"/>
                <a:chExt cx="152400" cy="486507"/>
              </a:xfrm>
            </p:grpSpPr>
            <p:cxnSp>
              <p:nvCxnSpPr>
                <p:cNvPr id="215" name="Straight Connector 214"/>
                <p:cNvCxnSpPr/>
                <p:nvPr userDrawn="1"/>
              </p:nvCxnSpPr>
              <p:spPr>
                <a:xfrm>
                  <a:off x="8135815" y="6582508"/>
                  <a:ext cx="0" cy="486507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6" name="Straight Connector 215"/>
                <p:cNvCxnSpPr/>
                <p:nvPr userDrawn="1"/>
              </p:nvCxnSpPr>
              <p:spPr>
                <a:xfrm>
                  <a:off x="7983415" y="6582508"/>
                  <a:ext cx="0" cy="486507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02" name="Group 201"/>
              <p:cNvGrpSpPr/>
              <p:nvPr userDrawn="1"/>
            </p:nvGrpSpPr>
            <p:grpSpPr>
              <a:xfrm rot="5400000">
                <a:off x="-254017" y="2625215"/>
                <a:ext cx="152400" cy="122115"/>
                <a:chOff x="7983415" y="6582508"/>
                <a:chExt cx="152400" cy="486507"/>
              </a:xfrm>
            </p:grpSpPr>
            <p:cxnSp>
              <p:nvCxnSpPr>
                <p:cNvPr id="213" name="Straight Connector 212"/>
                <p:cNvCxnSpPr/>
                <p:nvPr userDrawn="1"/>
              </p:nvCxnSpPr>
              <p:spPr>
                <a:xfrm>
                  <a:off x="8135815" y="6582508"/>
                  <a:ext cx="0" cy="486507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4" name="Straight Connector 213"/>
                <p:cNvCxnSpPr/>
                <p:nvPr userDrawn="1"/>
              </p:nvCxnSpPr>
              <p:spPr>
                <a:xfrm>
                  <a:off x="7983415" y="6582508"/>
                  <a:ext cx="0" cy="486507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03" name="Group 202"/>
              <p:cNvGrpSpPr/>
              <p:nvPr userDrawn="1"/>
            </p:nvGrpSpPr>
            <p:grpSpPr>
              <a:xfrm rot="5400000">
                <a:off x="-254017" y="2151573"/>
                <a:ext cx="152400" cy="122115"/>
                <a:chOff x="7983415" y="6582508"/>
                <a:chExt cx="152400" cy="486507"/>
              </a:xfrm>
            </p:grpSpPr>
            <p:cxnSp>
              <p:nvCxnSpPr>
                <p:cNvPr id="211" name="Straight Connector 210"/>
                <p:cNvCxnSpPr/>
                <p:nvPr userDrawn="1"/>
              </p:nvCxnSpPr>
              <p:spPr>
                <a:xfrm>
                  <a:off x="8135815" y="6582508"/>
                  <a:ext cx="0" cy="486507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2" name="Straight Connector 211"/>
                <p:cNvCxnSpPr/>
                <p:nvPr userDrawn="1"/>
              </p:nvCxnSpPr>
              <p:spPr>
                <a:xfrm>
                  <a:off x="7983415" y="6582508"/>
                  <a:ext cx="0" cy="486507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04" name="Group 203"/>
              <p:cNvGrpSpPr/>
              <p:nvPr userDrawn="1"/>
            </p:nvGrpSpPr>
            <p:grpSpPr>
              <a:xfrm rot="5400000">
                <a:off x="-254017" y="1677931"/>
                <a:ext cx="152400" cy="122115"/>
                <a:chOff x="7983415" y="6582508"/>
                <a:chExt cx="152400" cy="486507"/>
              </a:xfrm>
            </p:grpSpPr>
            <p:cxnSp>
              <p:nvCxnSpPr>
                <p:cNvPr id="209" name="Straight Connector 208"/>
                <p:cNvCxnSpPr/>
                <p:nvPr userDrawn="1"/>
              </p:nvCxnSpPr>
              <p:spPr>
                <a:xfrm>
                  <a:off x="8135815" y="6582508"/>
                  <a:ext cx="0" cy="486507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0" name="Straight Connector 209"/>
                <p:cNvCxnSpPr/>
                <p:nvPr userDrawn="1"/>
              </p:nvCxnSpPr>
              <p:spPr>
                <a:xfrm>
                  <a:off x="7983415" y="6582508"/>
                  <a:ext cx="0" cy="486507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05" name="Group 204"/>
              <p:cNvGrpSpPr/>
              <p:nvPr userDrawn="1"/>
            </p:nvGrpSpPr>
            <p:grpSpPr>
              <a:xfrm rot="5400000">
                <a:off x="-254017" y="997340"/>
                <a:ext cx="152400" cy="122115"/>
                <a:chOff x="7983415" y="6582508"/>
                <a:chExt cx="152400" cy="486507"/>
              </a:xfrm>
            </p:grpSpPr>
            <p:cxnSp>
              <p:nvCxnSpPr>
                <p:cNvPr id="207" name="Straight Connector 206"/>
                <p:cNvCxnSpPr/>
                <p:nvPr userDrawn="1"/>
              </p:nvCxnSpPr>
              <p:spPr>
                <a:xfrm>
                  <a:off x="8135815" y="6582508"/>
                  <a:ext cx="0" cy="486507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8" name="Straight Connector 207"/>
                <p:cNvCxnSpPr/>
                <p:nvPr userDrawn="1"/>
              </p:nvCxnSpPr>
              <p:spPr>
                <a:xfrm>
                  <a:off x="7983415" y="6582508"/>
                  <a:ext cx="0" cy="486507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206" name="Straight Connector 205"/>
              <p:cNvCxnSpPr/>
              <p:nvPr userDrawn="1"/>
            </p:nvCxnSpPr>
            <p:spPr>
              <a:xfrm rot="5400000">
                <a:off x="-177817" y="6338154"/>
                <a:ext cx="0" cy="122115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8" name="Group 157"/>
            <p:cNvGrpSpPr/>
            <p:nvPr userDrawn="1"/>
          </p:nvGrpSpPr>
          <p:grpSpPr>
            <a:xfrm>
              <a:off x="457731" y="-141165"/>
              <a:ext cx="8226688" cy="122115"/>
              <a:chOff x="457731" y="6582508"/>
              <a:chExt cx="8226688" cy="486507"/>
            </a:xfrm>
          </p:grpSpPr>
          <p:cxnSp>
            <p:nvCxnSpPr>
              <p:cNvPr id="159" name="Straight Connector 158"/>
              <p:cNvCxnSpPr/>
              <p:nvPr userDrawn="1"/>
            </p:nvCxnSpPr>
            <p:spPr>
              <a:xfrm>
                <a:off x="457731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Straight Connector 159"/>
              <p:cNvCxnSpPr/>
              <p:nvPr userDrawn="1"/>
            </p:nvCxnSpPr>
            <p:spPr>
              <a:xfrm>
                <a:off x="8684419" y="6582508"/>
                <a:ext cx="0" cy="486507"/>
              </a:xfrm>
              <a:prstGeom prst="line">
                <a:avLst/>
              </a:prstGeom>
              <a:ln w="3175">
                <a:solidFill>
                  <a:schemeClr val="tx1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61" name="Group 160"/>
              <p:cNvGrpSpPr/>
              <p:nvPr userDrawn="1"/>
            </p:nvGrpSpPr>
            <p:grpSpPr>
              <a:xfrm>
                <a:off x="7986158" y="6582508"/>
                <a:ext cx="152400" cy="486507"/>
                <a:chOff x="7983415" y="6582508"/>
                <a:chExt cx="152400" cy="486507"/>
              </a:xfrm>
            </p:grpSpPr>
            <p:cxnSp>
              <p:nvCxnSpPr>
                <p:cNvPr id="192" name="Straight Connector 191"/>
                <p:cNvCxnSpPr/>
                <p:nvPr userDrawn="1"/>
              </p:nvCxnSpPr>
              <p:spPr>
                <a:xfrm>
                  <a:off x="8135815" y="6582508"/>
                  <a:ext cx="0" cy="486507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3" name="Straight Connector 192"/>
                <p:cNvCxnSpPr/>
                <p:nvPr userDrawn="1"/>
              </p:nvCxnSpPr>
              <p:spPr>
                <a:xfrm>
                  <a:off x="7983415" y="6582508"/>
                  <a:ext cx="0" cy="486507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62" name="Group 161"/>
              <p:cNvGrpSpPr/>
              <p:nvPr userDrawn="1"/>
            </p:nvGrpSpPr>
            <p:grpSpPr>
              <a:xfrm>
                <a:off x="7287901" y="6582508"/>
                <a:ext cx="152400" cy="486507"/>
                <a:chOff x="7983415" y="6582508"/>
                <a:chExt cx="152400" cy="486507"/>
              </a:xfrm>
            </p:grpSpPr>
            <p:cxnSp>
              <p:nvCxnSpPr>
                <p:cNvPr id="190" name="Straight Connector 189"/>
                <p:cNvCxnSpPr/>
                <p:nvPr userDrawn="1"/>
              </p:nvCxnSpPr>
              <p:spPr>
                <a:xfrm>
                  <a:off x="8135815" y="6582508"/>
                  <a:ext cx="0" cy="486507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1" name="Straight Connector 190"/>
                <p:cNvCxnSpPr/>
                <p:nvPr userDrawn="1"/>
              </p:nvCxnSpPr>
              <p:spPr>
                <a:xfrm>
                  <a:off x="7983415" y="6582508"/>
                  <a:ext cx="0" cy="486507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63" name="Group 162"/>
              <p:cNvGrpSpPr/>
              <p:nvPr userDrawn="1"/>
            </p:nvGrpSpPr>
            <p:grpSpPr>
              <a:xfrm>
                <a:off x="6589644" y="6582508"/>
                <a:ext cx="152400" cy="486507"/>
                <a:chOff x="7983415" y="6582508"/>
                <a:chExt cx="152400" cy="486507"/>
              </a:xfrm>
            </p:grpSpPr>
            <p:cxnSp>
              <p:nvCxnSpPr>
                <p:cNvPr id="188" name="Straight Connector 187"/>
                <p:cNvCxnSpPr/>
                <p:nvPr userDrawn="1"/>
              </p:nvCxnSpPr>
              <p:spPr>
                <a:xfrm>
                  <a:off x="8135815" y="6582508"/>
                  <a:ext cx="0" cy="486507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9" name="Straight Connector 188"/>
                <p:cNvCxnSpPr/>
                <p:nvPr userDrawn="1"/>
              </p:nvCxnSpPr>
              <p:spPr>
                <a:xfrm>
                  <a:off x="7983415" y="6582508"/>
                  <a:ext cx="0" cy="486507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64" name="Group 163"/>
              <p:cNvGrpSpPr/>
              <p:nvPr userDrawn="1"/>
            </p:nvGrpSpPr>
            <p:grpSpPr>
              <a:xfrm>
                <a:off x="5891387" y="6582508"/>
                <a:ext cx="152400" cy="486507"/>
                <a:chOff x="7983415" y="6582508"/>
                <a:chExt cx="152400" cy="486507"/>
              </a:xfrm>
            </p:grpSpPr>
            <p:cxnSp>
              <p:nvCxnSpPr>
                <p:cNvPr id="186" name="Straight Connector 185"/>
                <p:cNvCxnSpPr/>
                <p:nvPr userDrawn="1"/>
              </p:nvCxnSpPr>
              <p:spPr>
                <a:xfrm>
                  <a:off x="8135815" y="6582508"/>
                  <a:ext cx="0" cy="486507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7" name="Straight Connector 186"/>
                <p:cNvCxnSpPr/>
                <p:nvPr userDrawn="1"/>
              </p:nvCxnSpPr>
              <p:spPr>
                <a:xfrm>
                  <a:off x="7983415" y="6582508"/>
                  <a:ext cx="0" cy="486507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65" name="Group 164"/>
              <p:cNvGrpSpPr/>
              <p:nvPr userDrawn="1"/>
            </p:nvGrpSpPr>
            <p:grpSpPr>
              <a:xfrm>
                <a:off x="5193130" y="6582508"/>
                <a:ext cx="152400" cy="486507"/>
                <a:chOff x="7983415" y="6582508"/>
                <a:chExt cx="152400" cy="486507"/>
              </a:xfrm>
            </p:grpSpPr>
            <p:cxnSp>
              <p:nvCxnSpPr>
                <p:cNvPr id="184" name="Straight Connector 183"/>
                <p:cNvCxnSpPr/>
                <p:nvPr userDrawn="1"/>
              </p:nvCxnSpPr>
              <p:spPr>
                <a:xfrm>
                  <a:off x="8135815" y="6582508"/>
                  <a:ext cx="0" cy="486507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5" name="Straight Connector 184"/>
                <p:cNvCxnSpPr/>
                <p:nvPr userDrawn="1"/>
              </p:nvCxnSpPr>
              <p:spPr>
                <a:xfrm>
                  <a:off x="7983415" y="6582508"/>
                  <a:ext cx="0" cy="486507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66" name="Group 165"/>
              <p:cNvGrpSpPr/>
              <p:nvPr userDrawn="1"/>
            </p:nvGrpSpPr>
            <p:grpSpPr>
              <a:xfrm>
                <a:off x="4494873" y="6582508"/>
                <a:ext cx="152400" cy="486507"/>
                <a:chOff x="7983415" y="6582508"/>
                <a:chExt cx="152400" cy="486507"/>
              </a:xfrm>
            </p:grpSpPr>
            <p:cxnSp>
              <p:nvCxnSpPr>
                <p:cNvPr id="182" name="Straight Connector 181"/>
                <p:cNvCxnSpPr/>
                <p:nvPr userDrawn="1"/>
              </p:nvCxnSpPr>
              <p:spPr>
                <a:xfrm>
                  <a:off x="8135815" y="6582508"/>
                  <a:ext cx="0" cy="486507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3" name="Straight Connector 182"/>
                <p:cNvCxnSpPr/>
                <p:nvPr userDrawn="1"/>
              </p:nvCxnSpPr>
              <p:spPr>
                <a:xfrm>
                  <a:off x="7983415" y="6582508"/>
                  <a:ext cx="0" cy="486507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67" name="Group 166"/>
              <p:cNvGrpSpPr/>
              <p:nvPr userDrawn="1"/>
            </p:nvGrpSpPr>
            <p:grpSpPr>
              <a:xfrm>
                <a:off x="3796616" y="6582508"/>
                <a:ext cx="152400" cy="486507"/>
                <a:chOff x="7983415" y="6582508"/>
                <a:chExt cx="152400" cy="486507"/>
              </a:xfrm>
            </p:grpSpPr>
            <p:cxnSp>
              <p:nvCxnSpPr>
                <p:cNvPr id="180" name="Straight Connector 179"/>
                <p:cNvCxnSpPr/>
                <p:nvPr userDrawn="1"/>
              </p:nvCxnSpPr>
              <p:spPr>
                <a:xfrm>
                  <a:off x="8135815" y="6582508"/>
                  <a:ext cx="0" cy="486507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1" name="Straight Connector 180"/>
                <p:cNvCxnSpPr/>
                <p:nvPr userDrawn="1"/>
              </p:nvCxnSpPr>
              <p:spPr>
                <a:xfrm>
                  <a:off x="7983415" y="6582508"/>
                  <a:ext cx="0" cy="486507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68" name="Group 167"/>
              <p:cNvGrpSpPr/>
              <p:nvPr userDrawn="1"/>
            </p:nvGrpSpPr>
            <p:grpSpPr>
              <a:xfrm>
                <a:off x="3098359" y="6582508"/>
                <a:ext cx="152400" cy="486507"/>
                <a:chOff x="7983415" y="6582508"/>
                <a:chExt cx="152400" cy="486507"/>
              </a:xfrm>
            </p:grpSpPr>
            <p:cxnSp>
              <p:nvCxnSpPr>
                <p:cNvPr id="178" name="Straight Connector 177"/>
                <p:cNvCxnSpPr/>
                <p:nvPr userDrawn="1"/>
              </p:nvCxnSpPr>
              <p:spPr>
                <a:xfrm>
                  <a:off x="8135815" y="6582508"/>
                  <a:ext cx="0" cy="486507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9" name="Straight Connector 178"/>
                <p:cNvCxnSpPr/>
                <p:nvPr userDrawn="1"/>
              </p:nvCxnSpPr>
              <p:spPr>
                <a:xfrm>
                  <a:off x="7983415" y="6582508"/>
                  <a:ext cx="0" cy="486507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69" name="Group 168"/>
              <p:cNvGrpSpPr/>
              <p:nvPr userDrawn="1"/>
            </p:nvGrpSpPr>
            <p:grpSpPr>
              <a:xfrm>
                <a:off x="2400102" y="6582508"/>
                <a:ext cx="152400" cy="486507"/>
                <a:chOff x="7983415" y="6582508"/>
                <a:chExt cx="152400" cy="486507"/>
              </a:xfrm>
            </p:grpSpPr>
            <p:cxnSp>
              <p:nvCxnSpPr>
                <p:cNvPr id="176" name="Straight Connector 175"/>
                <p:cNvCxnSpPr/>
                <p:nvPr userDrawn="1"/>
              </p:nvCxnSpPr>
              <p:spPr>
                <a:xfrm>
                  <a:off x="8135815" y="6582508"/>
                  <a:ext cx="0" cy="486507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7" name="Straight Connector 176"/>
                <p:cNvCxnSpPr/>
                <p:nvPr userDrawn="1"/>
              </p:nvCxnSpPr>
              <p:spPr>
                <a:xfrm>
                  <a:off x="7983415" y="6582508"/>
                  <a:ext cx="0" cy="486507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70" name="Group 169"/>
              <p:cNvGrpSpPr/>
              <p:nvPr userDrawn="1"/>
            </p:nvGrpSpPr>
            <p:grpSpPr>
              <a:xfrm>
                <a:off x="1701845" y="6582508"/>
                <a:ext cx="152400" cy="486507"/>
                <a:chOff x="7983415" y="6582508"/>
                <a:chExt cx="152400" cy="486507"/>
              </a:xfrm>
            </p:grpSpPr>
            <p:cxnSp>
              <p:nvCxnSpPr>
                <p:cNvPr id="174" name="Straight Connector 173"/>
                <p:cNvCxnSpPr/>
                <p:nvPr userDrawn="1"/>
              </p:nvCxnSpPr>
              <p:spPr>
                <a:xfrm>
                  <a:off x="8135815" y="6582508"/>
                  <a:ext cx="0" cy="486507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5" name="Straight Connector 174"/>
                <p:cNvCxnSpPr/>
                <p:nvPr userDrawn="1"/>
              </p:nvCxnSpPr>
              <p:spPr>
                <a:xfrm>
                  <a:off x="7983415" y="6582508"/>
                  <a:ext cx="0" cy="486507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71" name="Group 170"/>
              <p:cNvGrpSpPr/>
              <p:nvPr userDrawn="1"/>
            </p:nvGrpSpPr>
            <p:grpSpPr>
              <a:xfrm>
                <a:off x="1003588" y="6582508"/>
                <a:ext cx="152400" cy="486507"/>
                <a:chOff x="7983415" y="6582508"/>
                <a:chExt cx="152400" cy="486507"/>
              </a:xfrm>
            </p:grpSpPr>
            <p:cxnSp>
              <p:nvCxnSpPr>
                <p:cNvPr id="172" name="Straight Connector 171"/>
                <p:cNvCxnSpPr/>
                <p:nvPr userDrawn="1"/>
              </p:nvCxnSpPr>
              <p:spPr>
                <a:xfrm>
                  <a:off x="8135815" y="6582508"/>
                  <a:ext cx="0" cy="486507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3" name="Straight Connector 172"/>
                <p:cNvCxnSpPr/>
                <p:nvPr userDrawn="1"/>
              </p:nvCxnSpPr>
              <p:spPr>
                <a:xfrm>
                  <a:off x="7983415" y="6582508"/>
                  <a:ext cx="0" cy="486507"/>
                </a:xfrm>
                <a:prstGeom prst="line">
                  <a:avLst/>
                </a:prstGeom>
                <a:ln w="3175">
                  <a:solidFill>
                    <a:schemeClr val="tx1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</p:spTree>
    <p:extLst>
      <p:ext uri="{BB962C8B-B14F-4D97-AF65-F5344CB8AC3E}">
        <p14:creationId xmlns:p14="http://schemas.microsoft.com/office/powerpoint/2010/main" val="335508181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ABA9A466-64EC-2B78-AE11-22474DFC0E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6975" y="1513418"/>
            <a:ext cx="5933682" cy="3324488"/>
          </a:xfrm>
          <a:prstGeom prst="rect">
            <a:avLst/>
          </a:prstGeom>
        </p:spPr>
        <p:txBody>
          <a:bodyPr numCol="1" spcCol="248400"/>
          <a:lstStyle>
            <a:lvl1pPr marL="238115" indent="-238115">
              <a:lnSpc>
                <a:spcPct val="150000"/>
              </a:lnSpc>
              <a:spcAft>
                <a:spcPts val="0"/>
              </a:spcAft>
              <a:buClr>
                <a:srgbClr val="EC6723"/>
              </a:buClr>
              <a:buFont typeface="Arial" panose="020B0604020202020204" pitchFamily="34" charset="0"/>
              <a:buChar char="•"/>
              <a:defRPr sz="2000" i="0"/>
            </a:lvl1pPr>
            <a:lvl2pPr marL="449982" indent="-238115">
              <a:lnSpc>
                <a:spcPct val="150000"/>
              </a:lnSpc>
              <a:spcAft>
                <a:spcPts val="0"/>
              </a:spcAft>
              <a:buClr>
                <a:srgbClr val="5A5A5A"/>
              </a:buClr>
              <a:buFont typeface="Arial" panose="020B0604020202020204" pitchFamily="34" charset="0"/>
              <a:buChar char="•"/>
              <a:defRPr sz="1667" i="0">
                <a:solidFill>
                  <a:srgbClr val="5A5A5A"/>
                </a:solidFill>
                <a:latin typeface="Hind Light" panose="02000000000000000000" pitchFamily="2" charset="0"/>
                <a:cs typeface="Hind Light" panose="02000000000000000000" pitchFamily="2" charset="0"/>
              </a:defRPr>
            </a:lvl2pPr>
            <a:lvl3pPr marL="599976" indent="-142869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5A5A5A"/>
              </a:buClr>
              <a:buFont typeface="Arial" panose="020B0604020202020204" pitchFamily="34" charset="0"/>
              <a:buChar char="•"/>
              <a:defRPr sz="1500">
                <a:solidFill>
                  <a:srgbClr val="5A5A5A"/>
                </a:solidFill>
                <a:latin typeface="Hind Light" panose="02000000000000000000" pitchFamily="2" charset="0"/>
                <a:cs typeface="Hind Light" panose="02000000000000000000" pitchFamily="2" charset="0"/>
              </a:defRPr>
            </a:lvl3pPr>
            <a:lvl5pPr marL="236991" indent="-236991">
              <a:lnSpc>
                <a:spcPct val="150000"/>
              </a:lnSpc>
              <a:spcAft>
                <a:spcPts val="1000"/>
              </a:spcAft>
              <a:buClr>
                <a:srgbClr val="5A5A5A"/>
              </a:buClr>
              <a:buFont typeface="Arial" panose="020B0604020202020204" pitchFamily="34" charset="0"/>
              <a:buChar char="•"/>
              <a:defRPr sz="2000">
                <a:latin typeface="Hind Medium" panose="02000000000000000000" pitchFamily="2" charset="0"/>
                <a:cs typeface="Hind Medium" panose="02000000000000000000" pitchFamily="2" charset="0"/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15A06037-CD79-F951-8C5C-74885072B568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586975" y="945501"/>
            <a:ext cx="8993381" cy="44709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2000" b="0" i="0"/>
            </a:lvl1pPr>
            <a:lvl2pPr marL="380985" indent="0">
              <a:buNone/>
              <a:defRPr sz="1667" b="1"/>
            </a:lvl2pPr>
            <a:lvl3pPr marL="761970" indent="0">
              <a:buNone/>
              <a:defRPr sz="1500" b="1"/>
            </a:lvl3pPr>
            <a:lvl4pPr marL="1142954" indent="0">
              <a:buNone/>
              <a:defRPr sz="1333" b="1"/>
            </a:lvl4pPr>
            <a:lvl5pPr marL="1523939" indent="0">
              <a:buNone/>
              <a:defRPr sz="1333" b="1"/>
            </a:lvl5pPr>
            <a:lvl6pPr marL="1904924" indent="0">
              <a:buNone/>
              <a:defRPr sz="1333" b="1"/>
            </a:lvl6pPr>
            <a:lvl7pPr marL="2285909" indent="0">
              <a:buNone/>
              <a:defRPr sz="1333" b="1"/>
            </a:lvl7pPr>
            <a:lvl8pPr marL="2666893" indent="0">
              <a:buNone/>
              <a:defRPr sz="1333" b="1"/>
            </a:lvl8pPr>
            <a:lvl9pPr marL="3047878" indent="0">
              <a:buNone/>
              <a:defRPr sz="1333" b="1"/>
            </a:lvl9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14D0E6A-9164-150C-5DC3-53BC2748EC37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6705542" y="1513417"/>
            <a:ext cx="2874813" cy="3324489"/>
          </a:xfrm>
          <a:prstGeom prst="rect">
            <a:avLst/>
          </a:prstGeom>
        </p:spPr>
        <p:txBody>
          <a:bodyPr/>
          <a:lstStyle>
            <a:lvl1pPr marL="238115" indent="-238115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EC6723"/>
              </a:buClr>
              <a:buFont typeface="Arial" panose="020B0604020202020204" pitchFamily="34" charset="0"/>
              <a:buChar char="•"/>
              <a:defRPr sz="2000" i="0"/>
            </a:lvl1pPr>
            <a:lvl2pPr marL="449982" indent="-238115">
              <a:lnSpc>
                <a:spcPct val="150000"/>
              </a:lnSpc>
              <a:spcAft>
                <a:spcPts val="0"/>
              </a:spcAft>
              <a:buClr>
                <a:srgbClr val="5A5A5A"/>
              </a:buClr>
              <a:buFont typeface="Arial" panose="020B0604020202020204" pitchFamily="34" charset="0"/>
              <a:buChar char="•"/>
              <a:defRPr sz="1667" i="0">
                <a:solidFill>
                  <a:srgbClr val="5A5A5A"/>
                </a:solidFill>
                <a:latin typeface="Hind Light" panose="02000000000000000000" pitchFamily="2" charset="0"/>
                <a:cs typeface="Hind Light" panose="02000000000000000000" pitchFamily="2" charset="0"/>
              </a:defRPr>
            </a:lvl2pPr>
            <a:lvl3pPr marL="599976" indent="-142869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5A5A5A"/>
              </a:buClr>
              <a:buFont typeface="Arial" panose="020B0604020202020204" pitchFamily="34" charset="0"/>
              <a:buChar char="•"/>
              <a:defRPr sz="1500">
                <a:solidFill>
                  <a:srgbClr val="5A5A5A"/>
                </a:solidFill>
                <a:latin typeface="Hind Light" panose="02000000000000000000" pitchFamily="2" charset="0"/>
                <a:cs typeface="Hind Light" panose="02000000000000000000" pitchFamily="2" charset="0"/>
              </a:defRPr>
            </a:lvl3pPr>
            <a:lvl4pPr marL="142869" indent="-142869">
              <a:buClr>
                <a:srgbClr val="5A5A5A"/>
              </a:buClr>
              <a:buFont typeface="Arial" panose="020B0604020202020204" pitchFamily="34" charset="0"/>
              <a:buChar char="•"/>
              <a:defRPr/>
            </a:lvl4pPr>
            <a:lvl5pPr marL="236991" indent="-236991">
              <a:lnSpc>
                <a:spcPct val="150000"/>
              </a:lnSpc>
              <a:spcAft>
                <a:spcPts val="0"/>
              </a:spcAft>
              <a:buClr>
                <a:srgbClr val="5A5A5A"/>
              </a:buClr>
              <a:buFont typeface="Arial" panose="020B0604020202020204" pitchFamily="34" charset="0"/>
              <a:buChar char="•"/>
              <a:defRPr sz="2000">
                <a:solidFill>
                  <a:srgbClr val="5A5A5A"/>
                </a:solidFill>
                <a:latin typeface="Hind Medium" panose="02000000000000000000" pitchFamily="2" charset="0"/>
                <a:cs typeface="Hind Medium" panose="02000000000000000000" pitchFamily="2" charset="0"/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BEAC9B6-3CE0-BE9F-8C3A-4402444855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500" y="304271"/>
            <a:ext cx="8763000" cy="110463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NL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492361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elpagina + Bee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2" name="Tijdelijke aanduiding voor afbeelding 16"/>
          <p:cNvSpPr>
            <a:spLocks noGrp="1"/>
          </p:cNvSpPr>
          <p:nvPr>
            <p:ph type="pic" idx="21"/>
          </p:nvPr>
        </p:nvSpPr>
        <p:spPr>
          <a:xfrm>
            <a:off x="4043721" y="0"/>
            <a:ext cx="6116278" cy="5715000"/>
          </a:xfrm>
          <a:prstGeom prst="rect">
            <a:avLst/>
          </a:prstGeom>
        </p:spPr>
        <p:txBody>
          <a:bodyPr lIns="91439" tIns="45719" rIns="91439" bIns="45719"/>
          <a:lstStyle/>
          <a:p>
            <a:r>
              <a:rPr lang="en-GB"/>
              <a:t>Click icon to add picture</a:t>
            </a:r>
            <a:endParaRPr/>
          </a:p>
        </p:txBody>
      </p:sp>
      <p:sp>
        <p:nvSpPr>
          <p:cNvPr id="253" name="Body Level One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582084" y="4069717"/>
            <a:ext cx="3107669" cy="20706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ClrTx/>
              <a:buSzTx/>
              <a:buNone/>
              <a:defRPr b="1">
                <a:solidFill>
                  <a:srgbClr val="FFFFFF"/>
                </a:solidFill>
              </a:defRPr>
            </a:lvl1pPr>
            <a:lvl2pPr marL="0" indent="380985">
              <a:buClrTx/>
              <a:buSzTx/>
              <a:buNone/>
              <a:defRPr b="1">
                <a:solidFill>
                  <a:srgbClr val="FFFFFF"/>
                </a:solidFill>
              </a:defRPr>
            </a:lvl2pPr>
            <a:lvl3pPr indent="761970">
              <a:buClrTx/>
              <a:buFontTx/>
              <a:defRPr b="1">
                <a:solidFill>
                  <a:srgbClr val="FFFFFF"/>
                </a:solidFill>
              </a:defRPr>
            </a:lvl3pPr>
            <a:lvl4pPr indent="1142954">
              <a:buClrTx/>
              <a:buFontTx/>
              <a:defRPr b="1">
                <a:solidFill>
                  <a:srgbClr val="FFFFFF"/>
                </a:solidFill>
              </a:defRPr>
            </a:lvl4pPr>
            <a:lvl5pPr marL="0" indent="1523939">
              <a:buClrTx/>
              <a:buSzTx/>
              <a:buFontTx/>
              <a:buNone/>
              <a:defRPr b="1">
                <a:solidFill>
                  <a:srgbClr val="FFFFFF"/>
                </a:solidFill>
              </a:defRPr>
            </a:lvl5pPr>
          </a:lstStyle>
          <a:p>
            <a:r>
              <a:t>Naam van de spreker of datum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254" name="Tijdelijke aanduiding voor tekst 20"/>
          <p:cNvSpPr>
            <a:spLocks noGrp="1"/>
          </p:cNvSpPr>
          <p:nvPr>
            <p:ph type="body" sz="quarter" idx="22" hasCustomPrompt="1"/>
          </p:nvPr>
        </p:nvSpPr>
        <p:spPr>
          <a:xfrm>
            <a:off x="582082" y="1427237"/>
            <a:ext cx="3107672" cy="2437836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defTabSz="761970">
              <a:lnSpc>
                <a:spcPct val="100000"/>
              </a:lnSpc>
              <a:spcBef>
                <a:spcPts val="417"/>
              </a:spcBef>
              <a:buClrTx/>
              <a:buSzTx/>
              <a:buNone/>
              <a:defRPr sz="3167">
                <a:solidFill>
                  <a:srgbClr val="FFFFFF"/>
                </a:solidFill>
                <a:latin typeface="Roboto Slab Regular Regular"/>
                <a:ea typeface="Roboto Slab Regular Regular"/>
                <a:cs typeface="Roboto Slab Regular Regular"/>
                <a:sym typeface="Roboto Slab Regular Regular"/>
              </a:defRPr>
            </a:lvl1pPr>
          </a:lstStyle>
          <a:p>
            <a:r>
              <a:t>Plaats hier de titel van de presentatie</a:t>
            </a:r>
          </a:p>
        </p:txBody>
      </p:sp>
      <p:sp>
        <p:nvSpPr>
          <p:cNvPr id="255" name="Tijdelijke aanduiding voor tekst 17"/>
          <p:cNvSpPr>
            <a:spLocks noGrp="1"/>
          </p:cNvSpPr>
          <p:nvPr>
            <p:ph type="body" sz="quarter" idx="23" hasCustomPrompt="1"/>
          </p:nvPr>
        </p:nvSpPr>
        <p:spPr>
          <a:xfrm>
            <a:off x="582083" y="4481424"/>
            <a:ext cx="1212000" cy="6001"/>
          </a:xfrm>
          <a:prstGeom prst="rect">
            <a:avLst/>
          </a:prstGeom>
          <a:solidFill>
            <a:srgbClr val="FFFFFF"/>
          </a:solidFill>
        </p:spPr>
        <p:txBody>
          <a:bodyPr>
            <a:normAutofit/>
          </a:bodyPr>
          <a:lstStyle>
            <a:lvl1pPr marL="0" indent="0" defTabSz="239703">
              <a:spcBef>
                <a:spcPts val="333"/>
              </a:spcBef>
              <a:buClrTx/>
              <a:buSzTx/>
              <a:buNone/>
              <a:defRPr sz="533"/>
            </a:lvl1pPr>
          </a:lstStyle>
          <a:p>
            <a:r>
              <a:t>  </a:t>
            </a:r>
          </a:p>
        </p:txBody>
      </p:sp>
      <p:sp>
        <p:nvSpPr>
          <p:cNvPr id="270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GB" smtClean="0"/>
              <a:t>‹#›</a:t>
            </a:fld>
            <a:endParaRPr lang="en-GB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B91CBB64-B6C3-FB58-E93E-4F44D1F1F3D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79001" y="4872000"/>
            <a:ext cx="1217999" cy="860900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6E0B0832-82AB-F547-2018-063A10D2FDC8}"/>
              </a:ext>
            </a:extLst>
          </p:cNvPr>
          <p:cNvGrpSpPr/>
          <p:nvPr userDrawn="1"/>
        </p:nvGrpSpPr>
        <p:grpSpPr>
          <a:xfrm>
            <a:off x="2485425" y="-1072260"/>
            <a:ext cx="5715001" cy="494119"/>
            <a:chOff x="2982510" y="-1286712"/>
            <a:chExt cx="6858001" cy="592943"/>
          </a:xfrm>
        </p:grpSpPr>
        <p:sp>
          <p:nvSpPr>
            <p:cNvPr id="18" name="Rechthoek 36">
              <a:extLst>
                <a:ext uri="{FF2B5EF4-FFF2-40B4-BE49-F238E27FC236}">
                  <a16:creationId xmlns:a16="http://schemas.microsoft.com/office/drawing/2014/main" id="{5CFBB246-0C6E-B970-E07F-71A6966DC855}"/>
                </a:ext>
              </a:extLst>
            </p:cNvPr>
            <p:cNvSpPr/>
            <p:nvPr/>
          </p:nvSpPr>
          <p:spPr>
            <a:xfrm rot="16200000">
              <a:off x="6254550" y="-4279730"/>
              <a:ext cx="313921" cy="6858001"/>
            </a:xfrm>
            <a:prstGeom prst="rect">
              <a:avLst/>
            </a:prstGeom>
            <a:solidFill>
              <a:srgbClr val="00A6D6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</a:defRPr>
              </a:pPr>
              <a:endParaRPr sz="1500"/>
            </a:p>
          </p:txBody>
        </p:sp>
        <p:grpSp>
          <p:nvGrpSpPr>
            <p:cNvPr id="19" name="Groep 8">
              <a:extLst>
                <a:ext uri="{FF2B5EF4-FFF2-40B4-BE49-F238E27FC236}">
                  <a16:creationId xmlns:a16="http://schemas.microsoft.com/office/drawing/2014/main" id="{927DED37-92EA-1BFA-C86A-D7761ADC8887}"/>
                </a:ext>
              </a:extLst>
            </p:cNvPr>
            <p:cNvGrpSpPr/>
            <p:nvPr/>
          </p:nvGrpSpPr>
          <p:grpSpPr>
            <a:xfrm>
              <a:off x="2982511" y="-1286711"/>
              <a:ext cx="6226976" cy="211382"/>
              <a:chOff x="0" y="0"/>
              <a:chExt cx="6226974" cy="211380"/>
            </a:xfrm>
          </p:grpSpPr>
          <p:sp>
            <p:nvSpPr>
              <p:cNvPr id="21" name="Rechthoek 6">
                <a:extLst>
                  <a:ext uri="{FF2B5EF4-FFF2-40B4-BE49-F238E27FC236}">
                    <a16:creationId xmlns:a16="http://schemas.microsoft.com/office/drawing/2014/main" id="{F3F645E0-78E2-58A4-8848-9192F1212B72}"/>
                  </a:ext>
                </a:extLst>
              </p:cNvPr>
              <p:cNvSpPr/>
              <p:nvPr/>
            </p:nvSpPr>
            <p:spPr>
              <a:xfrm rot="16200000">
                <a:off x="168192" y="-168191"/>
                <a:ext cx="211380" cy="547765"/>
              </a:xfrm>
              <a:prstGeom prst="rect">
                <a:avLst/>
              </a:prstGeom>
              <a:solidFill>
                <a:srgbClr val="0C2340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defRPr>
                    <a:solidFill>
                      <a:srgbClr val="FFFFFF"/>
                    </a:solidFill>
                  </a:defRPr>
                </a:pPr>
                <a:endParaRPr sz="1500"/>
              </a:p>
            </p:txBody>
          </p:sp>
          <p:sp>
            <p:nvSpPr>
              <p:cNvPr id="22" name="Rechthoek 29">
                <a:extLst>
                  <a:ext uri="{FF2B5EF4-FFF2-40B4-BE49-F238E27FC236}">
                    <a16:creationId xmlns:a16="http://schemas.microsoft.com/office/drawing/2014/main" id="{7DEDF942-8580-F6F1-ADAA-A34CADB4D7B6}"/>
                  </a:ext>
                </a:extLst>
              </p:cNvPr>
              <p:cNvSpPr/>
              <p:nvPr/>
            </p:nvSpPr>
            <p:spPr>
              <a:xfrm rot="16200000">
                <a:off x="799215" y="-168191"/>
                <a:ext cx="211380" cy="547765"/>
              </a:xfrm>
              <a:prstGeom prst="rect">
                <a:avLst/>
              </a:prstGeom>
              <a:solidFill>
                <a:srgbClr val="00B8C8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defRPr>
                    <a:solidFill>
                      <a:srgbClr val="FFFFFF"/>
                    </a:solidFill>
                  </a:defRPr>
                </a:pPr>
                <a:endParaRPr sz="1500"/>
              </a:p>
            </p:txBody>
          </p:sp>
          <p:sp>
            <p:nvSpPr>
              <p:cNvPr id="23" name="Rechthoek 30">
                <a:extLst>
                  <a:ext uri="{FF2B5EF4-FFF2-40B4-BE49-F238E27FC236}">
                    <a16:creationId xmlns:a16="http://schemas.microsoft.com/office/drawing/2014/main" id="{C9E978B3-3F62-AC25-0ACE-439F8AE1339E}"/>
                  </a:ext>
                </a:extLst>
              </p:cNvPr>
              <p:cNvSpPr/>
              <p:nvPr/>
            </p:nvSpPr>
            <p:spPr>
              <a:xfrm rot="16200000">
                <a:off x="1430239" y="-168191"/>
                <a:ext cx="211380" cy="547765"/>
              </a:xfrm>
              <a:prstGeom prst="rect">
                <a:avLst/>
              </a:prstGeom>
              <a:solidFill>
                <a:srgbClr val="0076C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defRPr>
                    <a:solidFill>
                      <a:srgbClr val="FFFFFF"/>
                    </a:solidFill>
                  </a:defRPr>
                </a:pPr>
                <a:endParaRPr sz="1500"/>
              </a:p>
            </p:txBody>
          </p:sp>
          <p:sp>
            <p:nvSpPr>
              <p:cNvPr id="24" name="Rechthoek 31">
                <a:extLst>
                  <a:ext uri="{FF2B5EF4-FFF2-40B4-BE49-F238E27FC236}">
                    <a16:creationId xmlns:a16="http://schemas.microsoft.com/office/drawing/2014/main" id="{91463EB9-A595-43E6-97D1-5C1D3C2A1EC7}"/>
                  </a:ext>
                </a:extLst>
              </p:cNvPr>
              <p:cNvSpPr/>
              <p:nvPr/>
            </p:nvSpPr>
            <p:spPr>
              <a:xfrm rot="16200000">
                <a:off x="2061263" y="-168191"/>
                <a:ext cx="211380" cy="547765"/>
              </a:xfrm>
              <a:prstGeom prst="rect">
                <a:avLst/>
              </a:prstGeom>
              <a:solidFill>
                <a:srgbClr val="6F1D77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defRPr>
                    <a:solidFill>
                      <a:srgbClr val="FFFFFF"/>
                    </a:solidFill>
                  </a:defRPr>
                </a:pPr>
                <a:endParaRPr sz="1500"/>
              </a:p>
            </p:txBody>
          </p:sp>
          <p:sp>
            <p:nvSpPr>
              <p:cNvPr id="25" name="Rechthoek 32">
                <a:extLst>
                  <a:ext uri="{FF2B5EF4-FFF2-40B4-BE49-F238E27FC236}">
                    <a16:creationId xmlns:a16="http://schemas.microsoft.com/office/drawing/2014/main" id="{A9BA88FA-7FB4-9E0F-BE19-6C12C47B1194}"/>
                  </a:ext>
                </a:extLst>
              </p:cNvPr>
              <p:cNvSpPr/>
              <p:nvPr/>
            </p:nvSpPr>
            <p:spPr>
              <a:xfrm rot="16200000">
                <a:off x="2692286" y="-168191"/>
                <a:ext cx="211380" cy="547765"/>
              </a:xfrm>
              <a:prstGeom prst="rect">
                <a:avLst/>
              </a:prstGeom>
              <a:solidFill>
                <a:srgbClr val="EF60A3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defRPr>
                    <a:solidFill>
                      <a:srgbClr val="FFFFFF"/>
                    </a:solidFill>
                  </a:defRPr>
                </a:pPr>
                <a:endParaRPr sz="1500"/>
              </a:p>
            </p:txBody>
          </p:sp>
          <p:sp>
            <p:nvSpPr>
              <p:cNvPr id="26" name="Rechthoek 33">
                <a:extLst>
                  <a:ext uri="{FF2B5EF4-FFF2-40B4-BE49-F238E27FC236}">
                    <a16:creationId xmlns:a16="http://schemas.microsoft.com/office/drawing/2014/main" id="{5943F7F6-E902-03AB-AA66-9A84D3F4DB5D}"/>
                  </a:ext>
                </a:extLst>
              </p:cNvPr>
              <p:cNvSpPr/>
              <p:nvPr/>
            </p:nvSpPr>
            <p:spPr>
              <a:xfrm rot="16200000">
                <a:off x="3323310" y="-168191"/>
                <a:ext cx="211380" cy="547765"/>
              </a:xfrm>
              <a:prstGeom prst="rect">
                <a:avLst/>
              </a:prstGeom>
              <a:solidFill>
                <a:srgbClr val="A50034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defRPr>
                    <a:solidFill>
                      <a:srgbClr val="FFFFFF"/>
                    </a:solidFill>
                  </a:defRPr>
                </a:pPr>
                <a:endParaRPr sz="1500"/>
              </a:p>
            </p:txBody>
          </p:sp>
          <p:sp>
            <p:nvSpPr>
              <p:cNvPr id="27" name="Rechthoek 34">
                <a:extLst>
                  <a:ext uri="{FF2B5EF4-FFF2-40B4-BE49-F238E27FC236}">
                    <a16:creationId xmlns:a16="http://schemas.microsoft.com/office/drawing/2014/main" id="{A17CC404-6EAF-CE31-3999-4ED580536156}"/>
                  </a:ext>
                </a:extLst>
              </p:cNvPr>
              <p:cNvSpPr/>
              <p:nvPr/>
            </p:nvSpPr>
            <p:spPr>
              <a:xfrm rot="16200000">
                <a:off x="3954334" y="-168191"/>
                <a:ext cx="211380" cy="547765"/>
              </a:xfrm>
              <a:prstGeom prst="rect">
                <a:avLst/>
              </a:prstGeom>
              <a:solidFill>
                <a:srgbClr val="E03C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defRPr>
                    <a:solidFill>
                      <a:srgbClr val="FFFFFF"/>
                    </a:solidFill>
                  </a:defRPr>
                </a:pPr>
                <a:endParaRPr sz="1500"/>
              </a:p>
            </p:txBody>
          </p:sp>
          <p:sp>
            <p:nvSpPr>
              <p:cNvPr id="28" name="Rechthoek 37">
                <a:extLst>
                  <a:ext uri="{FF2B5EF4-FFF2-40B4-BE49-F238E27FC236}">
                    <a16:creationId xmlns:a16="http://schemas.microsoft.com/office/drawing/2014/main" id="{0F58D146-0C0D-525B-8D30-0AEAFE97A1A5}"/>
                  </a:ext>
                </a:extLst>
              </p:cNvPr>
              <p:cNvSpPr/>
              <p:nvPr/>
            </p:nvSpPr>
            <p:spPr>
              <a:xfrm rot="16200000">
                <a:off x="4585357" y="-168192"/>
                <a:ext cx="211380" cy="547765"/>
              </a:xfrm>
              <a:prstGeom prst="rect">
                <a:avLst/>
              </a:prstGeom>
              <a:solidFill>
                <a:srgbClr val="ED684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defRPr>
                    <a:solidFill>
                      <a:srgbClr val="FFFFFF"/>
                    </a:solidFill>
                  </a:defRPr>
                </a:pPr>
                <a:endParaRPr sz="1500"/>
              </a:p>
            </p:txBody>
          </p:sp>
          <p:sp>
            <p:nvSpPr>
              <p:cNvPr id="29" name="Rechthoek 38">
                <a:extLst>
                  <a:ext uri="{FF2B5EF4-FFF2-40B4-BE49-F238E27FC236}">
                    <a16:creationId xmlns:a16="http://schemas.microsoft.com/office/drawing/2014/main" id="{1DFFAB0F-6FAB-A341-BA42-EEE71D70B00C}"/>
                  </a:ext>
                </a:extLst>
              </p:cNvPr>
              <p:cNvSpPr/>
              <p:nvPr/>
            </p:nvSpPr>
            <p:spPr>
              <a:xfrm rot="16200000">
                <a:off x="5216380" y="-168192"/>
                <a:ext cx="211380" cy="547764"/>
              </a:xfrm>
              <a:prstGeom prst="rect">
                <a:avLst/>
              </a:prstGeom>
              <a:solidFill>
                <a:srgbClr val="FFB81C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defRPr>
                    <a:solidFill>
                      <a:srgbClr val="FFFFFF"/>
                    </a:solidFill>
                  </a:defRPr>
                </a:pPr>
                <a:endParaRPr sz="1500"/>
              </a:p>
            </p:txBody>
          </p:sp>
          <p:sp>
            <p:nvSpPr>
              <p:cNvPr id="30" name="Rechthoek 39">
                <a:extLst>
                  <a:ext uri="{FF2B5EF4-FFF2-40B4-BE49-F238E27FC236}">
                    <a16:creationId xmlns:a16="http://schemas.microsoft.com/office/drawing/2014/main" id="{A8066BCF-14CD-3B4B-B64A-9931B8BF8043}"/>
                  </a:ext>
                </a:extLst>
              </p:cNvPr>
              <p:cNvSpPr/>
              <p:nvPr/>
            </p:nvSpPr>
            <p:spPr>
              <a:xfrm rot="16200000">
                <a:off x="5847403" y="-168193"/>
                <a:ext cx="211380" cy="547765"/>
              </a:xfrm>
              <a:prstGeom prst="rect">
                <a:avLst/>
              </a:prstGeom>
              <a:solidFill>
                <a:srgbClr val="6CC24A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defRPr>
                    <a:solidFill>
                      <a:srgbClr val="FFFFFF"/>
                    </a:solidFill>
                  </a:defRPr>
                </a:pPr>
                <a:endParaRPr sz="1500"/>
              </a:p>
            </p:txBody>
          </p:sp>
        </p:grpSp>
        <p:sp>
          <p:nvSpPr>
            <p:cNvPr id="20" name="Rechthoek 39">
              <a:extLst>
                <a:ext uri="{FF2B5EF4-FFF2-40B4-BE49-F238E27FC236}">
                  <a16:creationId xmlns:a16="http://schemas.microsoft.com/office/drawing/2014/main" id="{96FC3D51-201B-CA2F-F7F8-09961210EC94}"/>
                </a:ext>
              </a:extLst>
            </p:cNvPr>
            <p:cNvSpPr/>
            <p:nvPr userDrawn="1"/>
          </p:nvSpPr>
          <p:spPr>
            <a:xfrm rot="16200000">
              <a:off x="9460936" y="-1454904"/>
              <a:ext cx="211382" cy="547765"/>
            </a:xfrm>
            <a:prstGeom prst="rect">
              <a:avLst/>
            </a:prstGeom>
            <a:solidFill>
              <a:srgbClr val="009B77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</a:defRPr>
              </a:pPr>
              <a:endParaRPr sz="1500"/>
            </a:p>
          </p:txBody>
        </p:sp>
      </p:grpSp>
    </p:spTree>
    <p:extLst>
      <p:ext uri="{BB962C8B-B14F-4D97-AF65-F5344CB8AC3E}">
        <p14:creationId xmlns:p14="http://schemas.microsoft.com/office/powerpoint/2010/main" val="2659722262"/>
      </p:ext>
    </p:extLst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0924770"/>
              </p:ext>
            </p:extLst>
          </p:nvPr>
        </p:nvGraphicFramePr>
        <p:xfrm>
          <a:off x="0" y="9"/>
          <a:ext cx="176389" cy="1763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5" progId="TCLayout.ActiveDocument.1">
                  <p:embed/>
                </p:oleObj>
              </mc:Choice>
              <mc:Fallback>
                <p:oleObj name="think-cell Slide" r:id="rId5" imgW="383" imgH="385" progId="TCLayout.ActiveDocument.1">
                  <p:embed/>
                  <p:pic>
                    <p:nvPicPr>
                      <p:cNvPr id="23" name="Object 2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9"/>
                        <a:ext cx="176389" cy="1763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04B7339E-1DF4-455C-BE58-80098F1C91C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64" b="7864"/>
          <a:stretch/>
        </p:blipFill>
        <p:spPr>
          <a:xfrm>
            <a:off x="0" y="0"/>
            <a:ext cx="10160000" cy="57150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285657B8-0C27-4D21-8A1F-DB5BEDBA1610}"/>
              </a:ext>
            </a:extLst>
          </p:cNvPr>
          <p:cNvSpPr/>
          <p:nvPr userDrawn="1"/>
        </p:nvSpPr>
        <p:spPr>
          <a:xfrm>
            <a:off x="0" y="0"/>
            <a:ext cx="10160000" cy="5715000"/>
          </a:xfrm>
          <a:prstGeom prst="rect">
            <a:avLst/>
          </a:prstGeom>
          <a:gradFill>
            <a:gsLst>
              <a:gs pos="0">
                <a:schemeClr val="accent1">
                  <a:alpha val="83000"/>
                </a:schemeClr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0CEEA204-F6CF-6714-C1CC-189014820C92}"/>
              </a:ext>
            </a:extLst>
          </p:cNvPr>
          <p:cNvSpPr/>
          <p:nvPr userDrawn="1"/>
        </p:nvSpPr>
        <p:spPr>
          <a:xfrm>
            <a:off x="5921829" y="1"/>
            <a:ext cx="4238171" cy="5714999"/>
          </a:xfrm>
          <a:custGeom>
            <a:avLst/>
            <a:gdLst>
              <a:gd name="connsiteX0" fmla="*/ 1492124 w 4238171"/>
              <a:gd name="connsiteY0" fmla="*/ 0 h 5714999"/>
              <a:gd name="connsiteX1" fmla="*/ 2399954 w 4238171"/>
              <a:gd name="connsiteY1" fmla="*/ 0 h 5714999"/>
              <a:gd name="connsiteX2" fmla="*/ 2399954 w 4238171"/>
              <a:gd name="connsiteY2" fmla="*/ 1583015 h 5714999"/>
              <a:gd name="connsiteX3" fmla="*/ 4238171 w 4238171"/>
              <a:gd name="connsiteY3" fmla="*/ 1583015 h 5714999"/>
              <a:gd name="connsiteX4" fmla="*/ 4238171 w 4238171"/>
              <a:gd name="connsiteY4" fmla="*/ 3290002 h 5714999"/>
              <a:gd name="connsiteX5" fmla="*/ 3175707 w 4238171"/>
              <a:gd name="connsiteY5" fmla="*/ 5714999 h 5714999"/>
              <a:gd name="connsiteX6" fmla="*/ 2399954 w 4238171"/>
              <a:gd name="connsiteY6" fmla="*/ 5714999 h 5714999"/>
              <a:gd name="connsiteX7" fmla="*/ 2399954 w 4238171"/>
              <a:gd name="connsiteY7" fmla="*/ 3830530 h 5714999"/>
              <a:gd name="connsiteX8" fmla="*/ 155673 w 4238171"/>
              <a:gd name="connsiteY8" fmla="*/ 3830530 h 5714999"/>
              <a:gd name="connsiteX9" fmla="*/ 0 w 4238171"/>
              <a:gd name="connsiteY9" fmla="*/ 3405665 h 5714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238171" h="5714999">
                <a:moveTo>
                  <a:pt x="1492124" y="0"/>
                </a:moveTo>
                <a:lnTo>
                  <a:pt x="2399954" y="0"/>
                </a:lnTo>
                <a:lnTo>
                  <a:pt x="2399954" y="1583015"/>
                </a:lnTo>
                <a:lnTo>
                  <a:pt x="4238171" y="1583015"/>
                </a:lnTo>
                <a:lnTo>
                  <a:pt x="4238171" y="3290002"/>
                </a:lnTo>
                <a:lnTo>
                  <a:pt x="3175707" y="5714999"/>
                </a:lnTo>
                <a:lnTo>
                  <a:pt x="2399954" y="5714999"/>
                </a:lnTo>
                <a:lnTo>
                  <a:pt x="2399954" y="3830530"/>
                </a:lnTo>
                <a:lnTo>
                  <a:pt x="155673" y="3830530"/>
                </a:lnTo>
                <a:lnTo>
                  <a:pt x="0" y="3405665"/>
                </a:lnTo>
                <a:close/>
              </a:path>
            </a:pathLst>
          </a:custGeom>
          <a:solidFill>
            <a:schemeClr val="tx1">
              <a:alpha val="6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317500" y="2817593"/>
            <a:ext cx="9600080" cy="738664"/>
          </a:xfrm>
        </p:spPr>
        <p:txBody>
          <a:bodyPr wrap="square" anchor="b" anchorCtr="0">
            <a:spAutoFit/>
          </a:bodyPr>
          <a:lstStyle>
            <a:lvl1pPr marL="0" indent="0" algn="ctr">
              <a:buNone/>
              <a:defRPr sz="48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4" hasCustomPrompt="1"/>
            <p:custDataLst>
              <p:tags r:id="rId3"/>
            </p:custDataLst>
          </p:nvPr>
        </p:nvSpPr>
        <p:spPr>
          <a:xfrm>
            <a:off x="317500" y="3782778"/>
            <a:ext cx="9600080" cy="369332"/>
          </a:xfrm>
        </p:spPr>
        <p:txBody>
          <a:bodyPr wrap="square" anchor="t" anchorCtr="0">
            <a:spAutoFit/>
          </a:bodyPr>
          <a:lstStyle>
            <a:lvl1pPr algn="ctr">
              <a:spcBef>
                <a:spcPts val="450"/>
              </a:spcBef>
              <a:buFontTx/>
              <a:buNone/>
              <a:defRPr sz="2400" b="0" baseline="0">
                <a:solidFill>
                  <a:schemeClr val="bg1"/>
                </a:solidFill>
                <a:latin typeface="+mn-lt"/>
              </a:defRPr>
            </a:lvl1pPr>
            <a:lvl2pPr marL="0" indent="0">
              <a:buFontTx/>
              <a:buNone/>
              <a:defRPr sz="1800">
                <a:solidFill>
                  <a:schemeClr val="bg1"/>
                </a:solidFill>
              </a:defRPr>
            </a:lvl2pPr>
            <a:lvl3pPr marL="171450" indent="0">
              <a:buFontTx/>
              <a:buNone/>
              <a:defRPr sz="1800">
                <a:solidFill>
                  <a:schemeClr val="bg1"/>
                </a:solidFill>
              </a:defRPr>
            </a:lvl3pPr>
            <a:lvl4pPr marL="342900" indent="0">
              <a:buFontTx/>
              <a:buNone/>
              <a:defRPr sz="1800">
                <a:solidFill>
                  <a:schemeClr val="bg1"/>
                </a:solidFill>
              </a:defRPr>
            </a:lvl4pPr>
            <a:lvl5pPr marL="514350" indent="0">
              <a:buFontTx/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subtitle</a:t>
            </a:r>
          </a:p>
        </p:txBody>
      </p:sp>
      <p:pic>
        <p:nvPicPr>
          <p:cNvPr id="6" name="Picture 5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408DE85A-D4AF-0CA0-4606-A01DEB7637C1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55902" y="1094773"/>
            <a:ext cx="4681637" cy="683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136459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Aangepaste inde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jdelijke aanduiding voor tekst 24">
            <a:extLst>
              <a:ext uri="{FF2B5EF4-FFF2-40B4-BE49-F238E27FC236}">
                <a16:creationId xmlns:a16="http://schemas.microsoft.com/office/drawing/2014/main" id="{96A52489-BD48-5A40-AF40-C7FE89A5165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-8957" y="0"/>
            <a:ext cx="10168958" cy="5715000"/>
          </a:xfrm>
          <a:custGeom>
            <a:avLst/>
            <a:gdLst>
              <a:gd name="connsiteX0" fmla="*/ 12202750 w 12202750"/>
              <a:gd name="connsiteY0" fmla="*/ 4626493 h 6858000"/>
              <a:gd name="connsiteX1" fmla="*/ 12202750 w 12202750"/>
              <a:gd name="connsiteY1" fmla="*/ 6858000 h 6858000"/>
              <a:gd name="connsiteX2" fmla="*/ 11270933 w 12202750"/>
              <a:gd name="connsiteY2" fmla="*/ 6858000 h 6858000"/>
              <a:gd name="connsiteX3" fmla="*/ 11292806 w 12202750"/>
              <a:gd name="connsiteY3" fmla="*/ 6823366 h 6858000"/>
              <a:gd name="connsiteX4" fmla="*/ 12132976 w 12202750"/>
              <a:gd name="connsiteY4" fmla="*/ 4864546 h 6858000"/>
              <a:gd name="connsiteX5" fmla="*/ 7211067 w 12202750"/>
              <a:gd name="connsiteY5" fmla="*/ 0 h 6858000"/>
              <a:gd name="connsiteX6" fmla="*/ 12202750 w 12202750"/>
              <a:gd name="connsiteY6" fmla="*/ 0 h 6858000"/>
              <a:gd name="connsiteX7" fmla="*/ 12202750 w 12202750"/>
              <a:gd name="connsiteY7" fmla="*/ 1701685 h 6858000"/>
              <a:gd name="connsiteX8" fmla="*/ 12201531 w 12202750"/>
              <a:gd name="connsiteY8" fmla="*/ 1703737 h 6858000"/>
              <a:gd name="connsiteX9" fmla="*/ 12013073 w 12202750"/>
              <a:gd name="connsiteY9" fmla="*/ 2040528 h 6858000"/>
              <a:gd name="connsiteX10" fmla="*/ 6393116 w 12202750"/>
              <a:gd name="connsiteY10" fmla="*/ 3130572 h 6858000"/>
              <a:gd name="connsiteX11" fmla="*/ 7006806 w 12202750"/>
              <a:gd name="connsiteY11" fmla="*/ 307865 h 6858000"/>
              <a:gd name="connsiteX12" fmla="*/ 0 w 12202750"/>
              <a:gd name="connsiteY12" fmla="*/ 0 h 6858000"/>
              <a:gd name="connsiteX13" fmla="*/ 4305911 w 12202750"/>
              <a:gd name="connsiteY13" fmla="*/ 0 h 6858000"/>
              <a:gd name="connsiteX14" fmla="*/ 4155867 w 12202750"/>
              <a:gd name="connsiteY14" fmla="*/ 111493 h 6858000"/>
              <a:gd name="connsiteX15" fmla="*/ 71946 w 12202750"/>
              <a:gd name="connsiteY15" fmla="*/ 4799708 h 6858000"/>
              <a:gd name="connsiteX16" fmla="*/ 0 w 12202750"/>
              <a:gd name="connsiteY16" fmla="*/ 503612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2202750" h="6858000">
                <a:moveTo>
                  <a:pt x="12202750" y="4626493"/>
                </a:moveTo>
                <a:lnTo>
                  <a:pt x="12202750" y="6858000"/>
                </a:lnTo>
                <a:lnTo>
                  <a:pt x="11270933" y="6858000"/>
                </a:lnTo>
                <a:lnTo>
                  <a:pt x="11292806" y="6823366"/>
                </a:lnTo>
                <a:cubicBezTo>
                  <a:pt x="11642946" y="6229435"/>
                  <a:pt x="11912279" y="5587138"/>
                  <a:pt x="12132976" y="4864546"/>
                </a:cubicBezTo>
                <a:close/>
                <a:moveTo>
                  <a:pt x="7211067" y="0"/>
                </a:moveTo>
                <a:lnTo>
                  <a:pt x="12202750" y="0"/>
                </a:lnTo>
                <a:lnTo>
                  <a:pt x="12202750" y="1701685"/>
                </a:lnTo>
                <a:lnTo>
                  <a:pt x="12201531" y="1703737"/>
                </a:lnTo>
                <a:cubicBezTo>
                  <a:pt x="12144874" y="1802592"/>
                  <a:pt x="12082910" y="1915911"/>
                  <a:pt x="12013073" y="2040528"/>
                </a:cubicBezTo>
                <a:cubicBezTo>
                  <a:pt x="10966860" y="3848144"/>
                  <a:pt x="7570785" y="5940600"/>
                  <a:pt x="6393116" y="3130572"/>
                </a:cubicBezTo>
                <a:cubicBezTo>
                  <a:pt x="5995310" y="2183970"/>
                  <a:pt x="6384878" y="1279305"/>
                  <a:pt x="7006806" y="307865"/>
                </a:cubicBezTo>
                <a:close/>
                <a:moveTo>
                  <a:pt x="0" y="0"/>
                </a:moveTo>
                <a:lnTo>
                  <a:pt x="4305911" y="0"/>
                </a:lnTo>
                <a:lnTo>
                  <a:pt x="4155867" y="111493"/>
                </a:lnTo>
                <a:cubicBezTo>
                  <a:pt x="2427429" y="1408339"/>
                  <a:pt x="762773" y="2806566"/>
                  <a:pt x="71946" y="4799708"/>
                </a:cubicBezTo>
                <a:lnTo>
                  <a:pt x="0" y="5036128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nl-NL"/>
              <a:t>  </a:t>
            </a:r>
            <a:endParaRPr lang="en-GB"/>
          </a:p>
        </p:txBody>
      </p:sp>
      <p:sp>
        <p:nvSpPr>
          <p:cNvPr id="7" name="Titel 5">
            <a:extLst>
              <a:ext uri="{FF2B5EF4-FFF2-40B4-BE49-F238E27FC236}">
                <a16:creationId xmlns:a16="http://schemas.microsoft.com/office/drawing/2014/main" id="{7AE71AD1-5D76-2045-8B27-CC0C09C998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94511" y="3233210"/>
            <a:ext cx="7798547" cy="1350886"/>
          </a:xfrm>
        </p:spPr>
        <p:txBody>
          <a:bodyPr anchor="b"/>
          <a:lstStyle>
            <a:lvl1pPr algn="r">
              <a:defRPr sz="3167">
                <a:solidFill>
                  <a:schemeClr val="bg1"/>
                </a:solidFill>
              </a:defRPr>
            </a:lvl1pPr>
          </a:lstStyle>
          <a:p>
            <a:r>
              <a:rPr lang="nl-NL"/>
              <a:t>Plaats hier de titel van </a:t>
            </a:r>
            <a:br>
              <a:rPr lang="nl-NL"/>
            </a:br>
            <a:r>
              <a:rPr lang="nl-NL"/>
              <a:t>de presentatie, max. 2 regels</a:t>
            </a:r>
          </a:p>
        </p:txBody>
      </p:sp>
      <p:sp>
        <p:nvSpPr>
          <p:cNvPr id="8" name="Ondertitel 2">
            <a:extLst>
              <a:ext uri="{FF2B5EF4-FFF2-40B4-BE49-F238E27FC236}">
                <a16:creationId xmlns:a16="http://schemas.microsoft.com/office/drawing/2014/main" id="{FFCFFB82-1AE5-3D4E-9AD9-487B27ADF6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485389" y="4720328"/>
            <a:ext cx="3107669" cy="207060"/>
          </a:xfrm>
        </p:spPr>
        <p:txBody>
          <a:bodyPr anchor="ctr"/>
          <a:lstStyle>
            <a:lvl1pPr marL="0" indent="0" algn="r">
              <a:buNone/>
              <a:defRPr sz="1333" b="1">
                <a:solidFill>
                  <a:schemeClr val="bg1"/>
                </a:solidFill>
              </a:defRPr>
            </a:lvl1pPr>
            <a:lvl2pPr marL="380985" indent="0" algn="ctr">
              <a:buNone/>
              <a:defRPr sz="1667"/>
            </a:lvl2pPr>
            <a:lvl3pPr marL="761970" indent="0" algn="ctr">
              <a:buNone/>
              <a:defRPr sz="1500"/>
            </a:lvl3pPr>
            <a:lvl4pPr marL="1142954" indent="0" algn="ctr">
              <a:buNone/>
              <a:defRPr sz="1333"/>
            </a:lvl4pPr>
            <a:lvl5pPr marL="1523939" indent="0" algn="ctr">
              <a:buNone/>
              <a:defRPr sz="1333"/>
            </a:lvl5pPr>
            <a:lvl6pPr marL="1904924" indent="0" algn="ctr">
              <a:buNone/>
              <a:defRPr sz="1333"/>
            </a:lvl6pPr>
            <a:lvl7pPr marL="2285909" indent="0" algn="ctr">
              <a:buNone/>
              <a:defRPr sz="1333"/>
            </a:lvl7pPr>
            <a:lvl8pPr marL="2666893" indent="0" algn="ctr">
              <a:buNone/>
              <a:defRPr sz="1333"/>
            </a:lvl8pPr>
            <a:lvl9pPr marL="3047878" indent="0" algn="ctr">
              <a:buNone/>
              <a:defRPr sz="1333"/>
            </a:lvl9pPr>
          </a:lstStyle>
          <a:p>
            <a:r>
              <a:rPr lang="en-GB" noProof="0"/>
              <a:t>Naam van de spreker of datum</a:t>
            </a:r>
          </a:p>
        </p:txBody>
      </p:sp>
      <p:sp>
        <p:nvSpPr>
          <p:cNvPr id="2" name="Rechthoek 5">
            <a:extLst>
              <a:ext uri="{FF2B5EF4-FFF2-40B4-BE49-F238E27FC236}">
                <a16:creationId xmlns:a16="http://schemas.microsoft.com/office/drawing/2014/main" id="{47A55A52-9212-FB2C-9BF9-59E15B502C18}"/>
              </a:ext>
            </a:extLst>
          </p:cNvPr>
          <p:cNvSpPr/>
          <p:nvPr userDrawn="1"/>
        </p:nvSpPr>
        <p:spPr>
          <a:xfrm>
            <a:off x="-8958" y="0"/>
            <a:ext cx="10168958" cy="5715000"/>
          </a:xfrm>
          <a:prstGeom prst="rect">
            <a:avLst/>
          </a:prstGeom>
          <a:solidFill>
            <a:srgbClr val="0076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50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E29A5056-81BD-627C-CE91-70924F6A099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79001" y="4872000"/>
            <a:ext cx="1217999" cy="860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1547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+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jdelijke aanduiding voor afbeelding 12">
            <a:extLst>
              <a:ext uri="{FF2B5EF4-FFF2-40B4-BE49-F238E27FC236}">
                <a16:creationId xmlns:a16="http://schemas.microsoft.com/office/drawing/2014/main" id="{E22FB477-70FD-8042-9A56-367ED7E1DE1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93" y="0"/>
            <a:ext cx="10159508" cy="5715003"/>
          </a:xfrm>
          <a:custGeom>
            <a:avLst/>
            <a:gdLst>
              <a:gd name="connsiteX0" fmla="*/ 2560191 w 12191409"/>
              <a:gd name="connsiteY0" fmla="*/ 0 h 6858003"/>
              <a:gd name="connsiteX1" fmla="*/ 12191409 w 12191409"/>
              <a:gd name="connsiteY1" fmla="*/ 0 h 6858003"/>
              <a:gd name="connsiteX2" fmla="*/ 12191409 w 12191409"/>
              <a:gd name="connsiteY2" fmla="*/ 6858003 h 6858003"/>
              <a:gd name="connsiteX3" fmla="*/ 0 w 12191409"/>
              <a:gd name="connsiteY3" fmla="*/ 6858003 h 6858003"/>
              <a:gd name="connsiteX4" fmla="*/ 0 w 12191409"/>
              <a:gd name="connsiteY4" fmla="*/ 1404460 h 6858003"/>
              <a:gd name="connsiteX5" fmla="*/ 2560191 w 12191409"/>
              <a:gd name="connsiteY5" fmla="*/ 1404460 h 6858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1409" h="6858003">
                <a:moveTo>
                  <a:pt x="2560191" y="0"/>
                </a:moveTo>
                <a:lnTo>
                  <a:pt x="12191409" y="0"/>
                </a:lnTo>
                <a:lnTo>
                  <a:pt x="12191409" y="6858003"/>
                </a:lnTo>
                <a:lnTo>
                  <a:pt x="0" y="6858003"/>
                </a:lnTo>
                <a:lnTo>
                  <a:pt x="0" y="1404460"/>
                </a:lnTo>
                <a:lnTo>
                  <a:pt x="2560191" y="140446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2880000" tIns="72000" rIns="360000" bIns="360000">
            <a:noAutofit/>
          </a:bodyPr>
          <a:lstStyle>
            <a:lvl1pPr marL="9260" indent="0">
              <a:buNone/>
              <a:tabLst/>
              <a:defRPr sz="1333">
                <a:solidFill>
                  <a:schemeClr val="bg2"/>
                </a:solidFill>
              </a:defRPr>
            </a:lvl1pPr>
          </a:lstStyle>
          <a:p>
            <a:r>
              <a:rPr lang="en-US"/>
              <a:t>Place image by clicking on the icon; reposition by right-clicking the image and selecting crop.</a:t>
            </a:r>
          </a:p>
        </p:txBody>
      </p:sp>
      <p:sp>
        <p:nvSpPr>
          <p:cNvPr id="9" name="Tijdelijke aanduiding voor afbeelding 17">
            <a:extLst>
              <a:ext uri="{FF2B5EF4-FFF2-40B4-BE49-F238E27FC236}">
                <a16:creationId xmlns:a16="http://schemas.microsoft.com/office/drawing/2014/main" id="{F4B5E855-1C05-1D41-9571-D559FA7427A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2133865" y="3851187"/>
            <a:ext cx="8026135" cy="1050219"/>
          </a:xfrm>
          <a:solidFill>
            <a:schemeClr val="tx1">
              <a:alpha val="30000"/>
            </a:schemeClr>
          </a:solidFill>
        </p:spPr>
        <p:txBody>
          <a:bodyPr/>
          <a:lstStyle>
            <a:lvl1pPr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 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9C9FB7B-B35A-8449-A684-96DE762F2D4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559B216C-2BAF-8745-9A00-96D076C2F829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723B7707-F0EB-6A46-96F8-CD870AAE8E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53000" y="3851187"/>
            <a:ext cx="7608000" cy="545758"/>
          </a:xfrm>
        </p:spPr>
        <p:txBody>
          <a:bodyPr anchor="b" anchorCtr="0"/>
          <a:lstStyle>
            <a:lvl1pPr>
              <a:lnSpc>
                <a:spcPct val="110000"/>
              </a:lnSpc>
              <a:defRPr>
                <a:solidFill>
                  <a:schemeClr val="bg1"/>
                </a:solidFill>
                <a:highlight>
                  <a:srgbClr val="000000"/>
                </a:highlight>
              </a:defRPr>
            </a:lvl1pPr>
          </a:lstStyle>
          <a:p>
            <a:r>
              <a:rPr lang="en-US" noProof="0"/>
              <a:t>Heading</a:t>
            </a:r>
          </a:p>
        </p:txBody>
      </p:sp>
      <p:sp>
        <p:nvSpPr>
          <p:cNvPr id="12" name="Tijdelijke aanduiding voor tekst 7">
            <a:extLst>
              <a:ext uri="{FF2B5EF4-FFF2-40B4-BE49-F238E27FC236}">
                <a16:creationId xmlns:a16="http://schemas.microsoft.com/office/drawing/2014/main" id="{6286F143-3B18-CF42-B389-B80F7151AA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53000" y="4465865"/>
            <a:ext cx="7605000" cy="435649"/>
          </a:xfrm>
        </p:spPr>
        <p:txBody>
          <a:bodyPr anchor="t" anchorCtr="0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tabLst/>
              <a:defRPr sz="2333">
                <a:solidFill>
                  <a:schemeClr val="bg1"/>
                </a:solidFill>
                <a:effectLst>
                  <a:outerShdw blurRad="152400" algn="tl" rotWithShape="0">
                    <a:prstClr val="black">
                      <a:alpha val="50000"/>
                    </a:prstClr>
                  </a:outerShdw>
                </a:effectLst>
              </a:defRPr>
            </a:lvl1pPr>
            <a:lvl2pPr>
              <a:lnSpc>
                <a:spcPct val="110000"/>
              </a:lnSpc>
              <a:buNone/>
              <a:defRPr>
                <a:solidFill>
                  <a:schemeClr val="bg1"/>
                </a:solidFill>
              </a:defRPr>
            </a:lvl2pPr>
            <a:lvl3pPr>
              <a:lnSpc>
                <a:spcPct val="110000"/>
              </a:lnSpc>
              <a:buNone/>
              <a:defRPr>
                <a:solidFill>
                  <a:schemeClr val="bg1"/>
                </a:solidFill>
              </a:defRPr>
            </a:lvl3pPr>
            <a:lvl4pPr>
              <a:lnSpc>
                <a:spcPct val="110000"/>
              </a:lnSpc>
              <a:buNone/>
              <a:defRPr>
                <a:solidFill>
                  <a:schemeClr val="bg1"/>
                </a:solidFill>
              </a:defRPr>
            </a:lvl4pPr>
            <a:lvl5pPr>
              <a:lnSpc>
                <a:spcPct val="110000"/>
              </a:lnSpc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Sub heading</a:t>
            </a:r>
          </a:p>
        </p:txBody>
      </p:sp>
      <p:sp>
        <p:nvSpPr>
          <p:cNvPr id="8" name="Tijdelijke aanduiding voor tekst 24">
            <a:extLst>
              <a:ext uri="{FF2B5EF4-FFF2-40B4-BE49-F238E27FC236}">
                <a16:creationId xmlns:a16="http://schemas.microsoft.com/office/drawing/2014/main" id="{8B5F9FB3-D196-9B46-9182-01BBDD07A15F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0" y="5183273"/>
            <a:ext cx="2138462" cy="531728"/>
          </a:xfrm>
          <a:noFill/>
        </p:spPr>
        <p:txBody>
          <a:bodyPr lIns="144000" tIns="0" rIns="36000" bIns="108000" anchor="b" anchorCtr="0"/>
          <a:lstStyle>
            <a:lvl1pPr marL="0" indent="0" algn="l">
              <a:spcBef>
                <a:spcPts val="0"/>
              </a:spcBef>
              <a:buNone/>
              <a:defRPr sz="833" b="0">
                <a:solidFill>
                  <a:schemeClr val="bg1">
                    <a:alpha val="65000"/>
                  </a:schemeClr>
                </a:solidFill>
                <a:effectLst>
                  <a:outerShdw blurRad="152400" algn="tl" rotWithShape="0">
                    <a:prstClr val="black">
                      <a:alpha val="50000"/>
                    </a:prstClr>
                  </a:outerShdw>
                </a:effectLst>
              </a:defRPr>
            </a:lvl1pPr>
            <a:lvl2pPr algn="l">
              <a:buNone/>
              <a:defRPr sz="2000"/>
            </a:lvl2pPr>
            <a:lvl3pPr algn="l">
              <a:buNone/>
              <a:defRPr sz="2000"/>
            </a:lvl3pPr>
            <a:lvl4pPr algn="l">
              <a:buNone/>
              <a:defRPr sz="2000"/>
            </a:lvl4pPr>
            <a:lvl5pPr algn="l">
              <a:buNone/>
              <a:defRPr sz="2000"/>
            </a:lvl5pPr>
          </a:lstStyle>
          <a:p>
            <a:pPr lvl="0"/>
            <a:r>
              <a:rPr lang="en-US" noProof="0"/>
              <a:t>Place photo credit here</a:t>
            </a:r>
          </a:p>
        </p:txBody>
      </p:sp>
    </p:spTree>
    <p:extLst>
      <p:ext uri="{BB962C8B-B14F-4D97-AF65-F5344CB8AC3E}">
        <p14:creationId xmlns:p14="http://schemas.microsoft.com/office/powerpoint/2010/main" val="14664337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text+small image o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jdelijke aanduiding voor afbeelding 12">
            <a:extLst>
              <a:ext uri="{FF2B5EF4-FFF2-40B4-BE49-F238E27FC236}">
                <a16:creationId xmlns:a16="http://schemas.microsoft.com/office/drawing/2014/main" id="{D07E0176-B5EF-A343-8D02-07B17A8133D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93" y="0"/>
            <a:ext cx="10159508" cy="5715003"/>
          </a:xfrm>
          <a:custGeom>
            <a:avLst/>
            <a:gdLst>
              <a:gd name="connsiteX0" fmla="*/ 2560191 w 12191409"/>
              <a:gd name="connsiteY0" fmla="*/ 0 h 6858003"/>
              <a:gd name="connsiteX1" fmla="*/ 12191409 w 12191409"/>
              <a:gd name="connsiteY1" fmla="*/ 0 h 6858003"/>
              <a:gd name="connsiteX2" fmla="*/ 12191409 w 12191409"/>
              <a:gd name="connsiteY2" fmla="*/ 6858003 h 6858003"/>
              <a:gd name="connsiteX3" fmla="*/ 0 w 12191409"/>
              <a:gd name="connsiteY3" fmla="*/ 6858003 h 6858003"/>
              <a:gd name="connsiteX4" fmla="*/ 0 w 12191409"/>
              <a:gd name="connsiteY4" fmla="*/ 1404460 h 6858003"/>
              <a:gd name="connsiteX5" fmla="*/ 2560191 w 12191409"/>
              <a:gd name="connsiteY5" fmla="*/ 1404460 h 6858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1409" h="6858003">
                <a:moveTo>
                  <a:pt x="2560191" y="0"/>
                </a:moveTo>
                <a:lnTo>
                  <a:pt x="12191409" y="0"/>
                </a:lnTo>
                <a:lnTo>
                  <a:pt x="12191409" y="6858003"/>
                </a:lnTo>
                <a:lnTo>
                  <a:pt x="0" y="6858003"/>
                </a:lnTo>
                <a:lnTo>
                  <a:pt x="0" y="1404460"/>
                </a:lnTo>
                <a:lnTo>
                  <a:pt x="2560191" y="140446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2880000" tIns="72000" rIns="360000" bIns="360000">
            <a:noAutofit/>
          </a:bodyPr>
          <a:lstStyle>
            <a:lvl1pPr marL="9260" indent="0" algn="r">
              <a:buNone/>
              <a:tabLst/>
              <a:defRPr sz="1333">
                <a:solidFill>
                  <a:schemeClr val="bg2"/>
                </a:solidFill>
              </a:defRPr>
            </a:lvl1pPr>
          </a:lstStyle>
          <a:p>
            <a:r>
              <a:rPr lang="en-US"/>
              <a:t>Color white or theme color yellow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AD7050A-3965-8042-8AE9-29E2C5F915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53000" y="120000"/>
            <a:ext cx="7608000" cy="1036313"/>
          </a:xfrm>
        </p:spPr>
        <p:txBody>
          <a:bodyPr anchor="b" anchorCtr="0"/>
          <a:lstStyle>
            <a:lvl1pPr>
              <a:lnSpc>
                <a:spcPct val="110000"/>
              </a:lnSpc>
              <a:defRPr>
                <a:solidFill>
                  <a:schemeClr val="bg1"/>
                </a:solidFill>
                <a:highlight>
                  <a:srgbClr val="000000"/>
                </a:highlight>
              </a:defRPr>
            </a:lvl1pPr>
          </a:lstStyle>
          <a:p>
            <a:r>
              <a:rPr lang="en-US" noProof="0"/>
              <a:t>Title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517849C4-E383-644A-9437-A990E9B9D2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9B216C-2BAF-8745-9A00-96D076C2F829}" type="slidenum">
              <a:rPr lang="nl-NL" smtClean="0"/>
              <a:t>‹#›</a:t>
            </a:fld>
            <a:endParaRPr lang="nl-NL"/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4AD22974-D747-9647-8F6B-A4F1AF933D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53000" y="1276313"/>
            <a:ext cx="7605000" cy="4008187"/>
          </a:xfrm>
        </p:spPr>
        <p:txBody>
          <a:bodyPr anchor="t" anchorCtr="0">
            <a:normAutofit/>
          </a:bodyPr>
          <a:lstStyle>
            <a:lvl1pPr>
              <a:lnSpc>
                <a:spcPct val="110000"/>
              </a:lnSpc>
              <a:spcBef>
                <a:spcPts val="833"/>
              </a:spcBef>
              <a:defRPr sz="1500">
                <a:solidFill>
                  <a:schemeClr val="tx1"/>
                </a:solidFill>
                <a:effectLst/>
              </a:defRPr>
            </a:lvl1pPr>
            <a:lvl2pPr>
              <a:lnSpc>
                <a:spcPct val="110000"/>
              </a:lnSpc>
              <a:spcBef>
                <a:spcPts val="833"/>
              </a:spcBef>
              <a:defRPr sz="1333">
                <a:solidFill>
                  <a:schemeClr val="tx1"/>
                </a:solidFill>
                <a:effectLst/>
              </a:defRPr>
            </a:lvl2pPr>
            <a:lvl3pPr>
              <a:lnSpc>
                <a:spcPct val="110000"/>
              </a:lnSpc>
              <a:spcBef>
                <a:spcPts val="833"/>
              </a:spcBef>
              <a:defRPr sz="1167">
                <a:solidFill>
                  <a:schemeClr val="tx1"/>
                </a:solidFill>
                <a:effectLst/>
              </a:defRPr>
            </a:lvl3pPr>
            <a:lvl4pPr>
              <a:lnSpc>
                <a:spcPct val="110000"/>
              </a:lnSpc>
              <a:spcBef>
                <a:spcPts val="833"/>
              </a:spcBef>
              <a:defRPr sz="1000">
                <a:solidFill>
                  <a:schemeClr val="tx1"/>
                </a:solidFill>
                <a:effectLst/>
              </a:defRPr>
            </a:lvl4pPr>
            <a:lvl5pPr>
              <a:lnSpc>
                <a:spcPct val="110000"/>
              </a:lnSpc>
              <a:spcBef>
                <a:spcPts val="833"/>
              </a:spcBef>
              <a:defRPr sz="1000">
                <a:solidFill>
                  <a:schemeClr val="tx1"/>
                </a:solidFill>
                <a:effectLst/>
              </a:defRPr>
            </a:lvl5pPr>
          </a:lstStyle>
          <a:p>
            <a:pPr lvl="0"/>
            <a:r>
              <a:rPr lang="en-US" noProof="0"/>
              <a:t>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ijdelijke aanduiding voor afbeelding 6">
            <a:extLst>
              <a:ext uri="{FF2B5EF4-FFF2-40B4-BE49-F238E27FC236}">
                <a16:creationId xmlns:a16="http://schemas.microsoft.com/office/drawing/2014/main" id="{13623D6B-F7C0-9B4E-9840-0C800496D02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156313"/>
            <a:ext cx="2133985" cy="4554000"/>
          </a:xfrm>
          <a:noFill/>
        </p:spPr>
        <p:txBody>
          <a:bodyPr lIns="360000" tIns="360000" rIns="360000" bIns="360000"/>
          <a:lstStyle>
            <a:lvl1pPr marL="9260" indent="-9260">
              <a:buNone/>
              <a:tabLst/>
              <a:defRPr sz="1333">
                <a:solidFill>
                  <a:schemeClr val="bg2"/>
                </a:solidFill>
              </a:defRPr>
            </a:lvl1pPr>
          </a:lstStyle>
          <a:p>
            <a:r>
              <a:rPr lang="en-US"/>
              <a:t>Optional: place image by clicking on the icon; reposition by right-clicking the image and selecting crop.</a:t>
            </a:r>
          </a:p>
        </p:txBody>
      </p:sp>
      <p:sp>
        <p:nvSpPr>
          <p:cNvPr id="7" name="Tijdelijke aanduiding voor tekst 24">
            <a:extLst>
              <a:ext uri="{FF2B5EF4-FFF2-40B4-BE49-F238E27FC236}">
                <a16:creationId xmlns:a16="http://schemas.microsoft.com/office/drawing/2014/main" id="{BC826CD9-25E7-7449-9ED0-0FDC499BCF3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0" y="5183273"/>
            <a:ext cx="2138462" cy="531728"/>
          </a:xfrm>
          <a:noFill/>
        </p:spPr>
        <p:txBody>
          <a:bodyPr lIns="144000" tIns="0" rIns="36000" bIns="108000" anchor="b" anchorCtr="0"/>
          <a:lstStyle>
            <a:lvl1pPr marL="0" indent="0" algn="l">
              <a:spcBef>
                <a:spcPts val="0"/>
              </a:spcBef>
              <a:buNone/>
              <a:defRPr sz="833" b="0">
                <a:solidFill>
                  <a:schemeClr val="bg1">
                    <a:alpha val="65000"/>
                  </a:schemeClr>
                </a:solidFill>
                <a:effectLst>
                  <a:outerShdw blurRad="152400" algn="tl" rotWithShape="0">
                    <a:prstClr val="black">
                      <a:alpha val="50000"/>
                    </a:prstClr>
                  </a:outerShdw>
                </a:effectLst>
              </a:defRPr>
            </a:lvl1pPr>
            <a:lvl2pPr algn="l">
              <a:buNone/>
              <a:defRPr sz="2000"/>
            </a:lvl2pPr>
            <a:lvl3pPr algn="l">
              <a:buNone/>
              <a:defRPr sz="2000"/>
            </a:lvl3pPr>
            <a:lvl4pPr algn="l">
              <a:buNone/>
              <a:defRPr sz="2000"/>
            </a:lvl4pPr>
            <a:lvl5pPr algn="l">
              <a:buNone/>
              <a:defRPr sz="2000"/>
            </a:lvl5pPr>
          </a:lstStyle>
          <a:p>
            <a:pPr lvl="0"/>
            <a:r>
              <a:rPr lang="en-US" noProof="0"/>
              <a:t>Place photo credit here</a:t>
            </a:r>
          </a:p>
        </p:txBody>
      </p:sp>
    </p:spTree>
    <p:extLst>
      <p:ext uri="{BB962C8B-B14F-4D97-AF65-F5344CB8AC3E}">
        <p14:creationId xmlns:p14="http://schemas.microsoft.com/office/powerpoint/2010/main" val="20012872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0459880"/>
              </p:ext>
            </p:extLst>
          </p:nvPr>
        </p:nvGraphicFramePr>
        <p:xfrm>
          <a:off x="0" y="9"/>
          <a:ext cx="176389" cy="1763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5" progId="TCLayout.ActiveDocument.1">
                  <p:embed/>
                </p:oleObj>
              </mc:Choice>
              <mc:Fallback>
                <p:oleObj name="think-cell Slide" r:id="rId5" imgW="383" imgH="385" progId="TCLayout.ActiveDocument.1">
                  <p:embed/>
                  <p:pic>
                    <p:nvPicPr>
                      <p:cNvPr id="23" name="Object 2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9"/>
                        <a:ext cx="176389" cy="1763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285657B8-0C27-4D21-8A1F-DB5BEDBA1610}"/>
              </a:ext>
            </a:extLst>
          </p:cNvPr>
          <p:cNvSpPr/>
          <p:nvPr userDrawn="1"/>
        </p:nvSpPr>
        <p:spPr>
          <a:xfrm>
            <a:off x="0" y="0"/>
            <a:ext cx="10160000" cy="5715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317500" y="2174331"/>
            <a:ext cx="9571053" cy="738664"/>
          </a:xfrm>
        </p:spPr>
        <p:txBody>
          <a:bodyPr wrap="square" anchor="b" anchorCtr="0">
            <a:spAutoFit/>
          </a:bodyPr>
          <a:lstStyle>
            <a:lvl1pPr algn="l">
              <a:defRPr sz="48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4" hasCustomPrompt="1"/>
            <p:custDataLst>
              <p:tags r:id="rId3"/>
            </p:custDataLst>
          </p:nvPr>
        </p:nvSpPr>
        <p:spPr>
          <a:xfrm>
            <a:off x="317500" y="3139516"/>
            <a:ext cx="9571053" cy="369332"/>
          </a:xfrm>
        </p:spPr>
        <p:txBody>
          <a:bodyPr wrap="square" anchor="t" anchorCtr="0">
            <a:spAutoFit/>
          </a:bodyPr>
          <a:lstStyle>
            <a:lvl1pPr algn="l">
              <a:spcBef>
                <a:spcPts val="450"/>
              </a:spcBef>
              <a:buFontTx/>
              <a:buNone/>
              <a:defRPr sz="2400" b="0" baseline="0">
                <a:solidFill>
                  <a:schemeClr val="bg1"/>
                </a:solidFill>
                <a:latin typeface="+mn-lt"/>
              </a:defRPr>
            </a:lvl1pPr>
            <a:lvl2pPr marL="0" indent="0">
              <a:buFontTx/>
              <a:buNone/>
              <a:defRPr sz="1800">
                <a:solidFill>
                  <a:schemeClr val="bg1"/>
                </a:solidFill>
              </a:defRPr>
            </a:lvl2pPr>
            <a:lvl3pPr marL="171450" indent="0">
              <a:buFontTx/>
              <a:buNone/>
              <a:defRPr sz="1800">
                <a:solidFill>
                  <a:schemeClr val="bg1"/>
                </a:solidFill>
              </a:defRPr>
            </a:lvl3pPr>
            <a:lvl4pPr marL="342900" indent="0">
              <a:buFontTx/>
              <a:buNone/>
              <a:defRPr sz="1800">
                <a:solidFill>
                  <a:schemeClr val="bg1"/>
                </a:solidFill>
              </a:defRPr>
            </a:lvl4pPr>
            <a:lvl5pPr marL="514350" indent="0">
              <a:buFontTx/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F6E4DEE1-8BB5-21FD-96E1-5B5D64F0D3AB}"/>
              </a:ext>
            </a:extLst>
          </p:cNvPr>
          <p:cNvSpPr/>
          <p:nvPr/>
        </p:nvSpPr>
        <p:spPr>
          <a:xfrm>
            <a:off x="5921829" y="1"/>
            <a:ext cx="4238171" cy="5714999"/>
          </a:xfrm>
          <a:custGeom>
            <a:avLst/>
            <a:gdLst>
              <a:gd name="connsiteX0" fmla="*/ 1492124 w 4238171"/>
              <a:gd name="connsiteY0" fmla="*/ 0 h 5714999"/>
              <a:gd name="connsiteX1" fmla="*/ 2399954 w 4238171"/>
              <a:gd name="connsiteY1" fmla="*/ 0 h 5714999"/>
              <a:gd name="connsiteX2" fmla="*/ 2399954 w 4238171"/>
              <a:gd name="connsiteY2" fmla="*/ 1583015 h 5714999"/>
              <a:gd name="connsiteX3" fmla="*/ 4238171 w 4238171"/>
              <a:gd name="connsiteY3" fmla="*/ 1583015 h 5714999"/>
              <a:gd name="connsiteX4" fmla="*/ 4238171 w 4238171"/>
              <a:gd name="connsiteY4" fmla="*/ 3290002 h 5714999"/>
              <a:gd name="connsiteX5" fmla="*/ 3175707 w 4238171"/>
              <a:gd name="connsiteY5" fmla="*/ 5714999 h 5714999"/>
              <a:gd name="connsiteX6" fmla="*/ 2399954 w 4238171"/>
              <a:gd name="connsiteY6" fmla="*/ 5714999 h 5714999"/>
              <a:gd name="connsiteX7" fmla="*/ 2399954 w 4238171"/>
              <a:gd name="connsiteY7" fmla="*/ 3830530 h 5714999"/>
              <a:gd name="connsiteX8" fmla="*/ 155673 w 4238171"/>
              <a:gd name="connsiteY8" fmla="*/ 3830530 h 5714999"/>
              <a:gd name="connsiteX9" fmla="*/ 0 w 4238171"/>
              <a:gd name="connsiteY9" fmla="*/ 3405665 h 5714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238171" h="5714999">
                <a:moveTo>
                  <a:pt x="1492124" y="0"/>
                </a:moveTo>
                <a:lnTo>
                  <a:pt x="2399954" y="0"/>
                </a:lnTo>
                <a:lnTo>
                  <a:pt x="2399954" y="1583015"/>
                </a:lnTo>
                <a:lnTo>
                  <a:pt x="4238171" y="1583015"/>
                </a:lnTo>
                <a:lnTo>
                  <a:pt x="4238171" y="3290002"/>
                </a:lnTo>
                <a:lnTo>
                  <a:pt x="3175707" y="5714999"/>
                </a:lnTo>
                <a:lnTo>
                  <a:pt x="2399954" y="5714999"/>
                </a:lnTo>
                <a:lnTo>
                  <a:pt x="2399954" y="3830530"/>
                </a:lnTo>
                <a:lnTo>
                  <a:pt x="155673" y="3830530"/>
                </a:lnTo>
                <a:lnTo>
                  <a:pt x="0" y="3405665"/>
                </a:lnTo>
                <a:close/>
              </a:path>
            </a:pathLst>
          </a:custGeom>
          <a:solidFill>
            <a:schemeClr val="tx1">
              <a:alpha val="6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7" name="Picture 6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761E8677-05CD-6BC9-09B0-E3A4C0FB0A6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500" y="485174"/>
            <a:ext cx="4241341" cy="619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02925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3458505"/>
              </p:ext>
            </p:extLst>
          </p:nvPr>
        </p:nvGraphicFramePr>
        <p:xfrm>
          <a:off x="0" y="9"/>
          <a:ext cx="176389" cy="1763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5" progId="TCLayout.ActiveDocument.1">
                  <p:embed/>
                </p:oleObj>
              </mc:Choice>
              <mc:Fallback>
                <p:oleObj name="think-cell Slide" r:id="rId5" imgW="383" imgH="385" progId="TCLayout.ActiveDocument.1">
                  <p:embed/>
                  <p:pic>
                    <p:nvPicPr>
                      <p:cNvPr id="23" name="Object 2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9"/>
                        <a:ext cx="176389" cy="1763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285657B8-0C27-4D21-8A1F-DB5BEDBA1610}"/>
              </a:ext>
            </a:extLst>
          </p:cNvPr>
          <p:cNvSpPr/>
          <p:nvPr userDrawn="1"/>
        </p:nvSpPr>
        <p:spPr>
          <a:xfrm>
            <a:off x="0" y="0"/>
            <a:ext cx="10160000" cy="5715000"/>
          </a:xfrm>
          <a:prstGeom prst="rect">
            <a:avLst/>
          </a:prstGeom>
          <a:solidFill>
            <a:schemeClr val="accent1">
              <a:alpha val="9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6E4940E5-D0E5-EF9D-ED81-31DB0BCAF4C1}"/>
              </a:ext>
            </a:extLst>
          </p:cNvPr>
          <p:cNvSpPr/>
          <p:nvPr userDrawn="1"/>
        </p:nvSpPr>
        <p:spPr>
          <a:xfrm>
            <a:off x="5921829" y="1"/>
            <a:ext cx="4238171" cy="5714999"/>
          </a:xfrm>
          <a:custGeom>
            <a:avLst/>
            <a:gdLst>
              <a:gd name="connsiteX0" fmla="*/ 1492124 w 4238171"/>
              <a:gd name="connsiteY0" fmla="*/ 0 h 5714999"/>
              <a:gd name="connsiteX1" fmla="*/ 2399954 w 4238171"/>
              <a:gd name="connsiteY1" fmla="*/ 0 h 5714999"/>
              <a:gd name="connsiteX2" fmla="*/ 2399954 w 4238171"/>
              <a:gd name="connsiteY2" fmla="*/ 1583015 h 5714999"/>
              <a:gd name="connsiteX3" fmla="*/ 4238171 w 4238171"/>
              <a:gd name="connsiteY3" fmla="*/ 1583015 h 5714999"/>
              <a:gd name="connsiteX4" fmla="*/ 4238171 w 4238171"/>
              <a:gd name="connsiteY4" fmla="*/ 3290002 h 5714999"/>
              <a:gd name="connsiteX5" fmla="*/ 3175707 w 4238171"/>
              <a:gd name="connsiteY5" fmla="*/ 5714999 h 5714999"/>
              <a:gd name="connsiteX6" fmla="*/ 2399954 w 4238171"/>
              <a:gd name="connsiteY6" fmla="*/ 5714999 h 5714999"/>
              <a:gd name="connsiteX7" fmla="*/ 2399954 w 4238171"/>
              <a:gd name="connsiteY7" fmla="*/ 3830530 h 5714999"/>
              <a:gd name="connsiteX8" fmla="*/ 155673 w 4238171"/>
              <a:gd name="connsiteY8" fmla="*/ 3830530 h 5714999"/>
              <a:gd name="connsiteX9" fmla="*/ 0 w 4238171"/>
              <a:gd name="connsiteY9" fmla="*/ 3405665 h 5714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238171" h="5714999">
                <a:moveTo>
                  <a:pt x="1492124" y="0"/>
                </a:moveTo>
                <a:lnTo>
                  <a:pt x="2399954" y="0"/>
                </a:lnTo>
                <a:lnTo>
                  <a:pt x="2399954" y="1583015"/>
                </a:lnTo>
                <a:lnTo>
                  <a:pt x="4238171" y="1583015"/>
                </a:lnTo>
                <a:lnTo>
                  <a:pt x="4238171" y="3290002"/>
                </a:lnTo>
                <a:lnTo>
                  <a:pt x="3175707" y="5714999"/>
                </a:lnTo>
                <a:lnTo>
                  <a:pt x="2399954" y="5714999"/>
                </a:lnTo>
                <a:lnTo>
                  <a:pt x="2399954" y="3830530"/>
                </a:lnTo>
                <a:lnTo>
                  <a:pt x="155673" y="3830530"/>
                </a:lnTo>
                <a:lnTo>
                  <a:pt x="0" y="3405665"/>
                </a:lnTo>
                <a:close/>
              </a:path>
            </a:pathLst>
          </a:custGeom>
          <a:solidFill>
            <a:schemeClr val="tx1">
              <a:alpha val="6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317504" y="2371259"/>
            <a:ext cx="9675159" cy="738664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48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4" hasCustomPrompt="1"/>
            <p:custDataLst>
              <p:tags r:id="rId3"/>
            </p:custDataLst>
          </p:nvPr>
        </p:nvSpPr>
        <p:spPr>
          <a:xfrm>
            <a:off x="317504" y="3336446"/>
            <a:ext cx="9675159" cy="369332"/>
          </a:xfrm>
        </p:spPr>
        <p:txBody>
          <a:bodyPr wrap="square" anchor="t" anchorCtr="0">
            <a:spAutoFit/>
          </a:bodyPr>
          <a:lstStyle>
            <a:lvl1pPr algn="l">
              <a:spcBef>
                <a:spcPts val="450"/>
              </a:spcBef>
              <a:buFontTx/>
              <a:buNone/>
              <a:defRPr sz="2400" b="0" baseline="0">
                <a:solidFill>
                  <a:schemeClr val="bg1"/>
                </a:solidFill>
                <a:latin typeface="+mn-lt"/>
              </a:defRPr>
            </a:lvl1pPr>
            <a:lvl2pPr marL="0" indent="0">
              <a:buFontTx/>
              <a:buNone/>
              <a:defRPr sz="1800">
                <a:solidFill>
                  <a:schemeClr val="bg1"/>
                </a:solidFill>
              </a:defRPr>
            </a:lvl2pPr>
            <a:lvl3pPr marL="171450" indent="0">
              <a:buFontTx/>
              <a:buNone/>
              <a:defRPr sz="1800">
                <a:solidFill>
                  <a:schemeClr val="bg1"/>
                </a:solidFill>
              </a:defRPr>
            </a:lvl3pPr>
            <a:lvl4pPr marL="342900" indent="0">
              <a:buFontTx/>
              <a:buNone/>
              <a:defRPr sz="1800">
                <a:solidFill>
                  <a:schemeClr val="bg1"/>
                </a:solidFill>
              </a:defRPr>
            </a:lvl4pPr>
            <a:lvl5pPr marL="514350" indent="0">
              <a:buFontTx/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subtitle</a:t>
            </a:r>
          </a:p>
        </p:txBody>
      </p:sp>
      <p:pic>
        <p:nvPicPr>
          <p:cNvPr id="2" name="Picture 1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EFCCEB98-8FC2-170D-169C-553F732861B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505" y="1475632"/>
            <a:ext cx="3279106" cy="478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73966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8470432"/>
              </p:ext>
            </p:extLst>
          </p:nvPr>
        </p:nvGraphicFramePr>
        <p:xfrm>
          <a:off x="0" y="9"/>
          <a:ext cx="176389" cy="1763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83" imgH="385" progId="TCLayout.ActiveDocument.1">
                  <p:embed/>
                </p:oleObj>
              </mc:Choice>
              <mc:Fallback>
                <p:oleObj name="think-cell Slide" r:id="rId8" imgW="383" imgH="385" progId="TCLayout.ActiveDocument.1">
                  <p:embed/>
                  <p:pic>
                    <p:nvPicPr>
                      <p:cNvPr id="23" name="Object 22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9"/>
                        <a:ext cx="176389" cy="1763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 Placeholder 24"/>
          <p:cNvSpPr>
            <a:spLocks noGrp="1"/>
          </p:cNvSpPr>
          <p:nvPr userDrawn="1">
            <p:ph type="body" sz="quarter" idx="14" hasCustomPrompt="1"/>
            <p:custDataLst>
              <p:tags r:id="rId2"/>
            </p:custDataLst>
          </p:nvPr>
        </p:nvSpPr>
        <p:spPr>
          <a:xfrm>
            <a:off x="324193" y="5316289"/>
            <a:ext cx="9282147" cy="123111"/>
          </a:xfrm>
          <a:noFill/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800" dirty="0">
                <a:solidFill>
                  <a:schemeClr val="tx1"/>
                </a:solidFill>
                <a:latin typeface="+mn-lt"/>
                <a:ea typeface="Nunito Sans" panose="00000500000000000000" pitchFamily="2" charset="0"/>
              </a:defRPr>
            </a:lvl1pPr>
          </a:lstStyle>
          <a:p>
            <a:pPr lvl="0"/>
            <a:r>
              <a:rPr lang="en-US"/>
              <a:t>Footnote: </a:t>
            </a:r>
          </a:p>
        </p:txBody>
      </p:sp>
      <p:sp>
        <p:nvSpPr>
          <p:cNvPr id="3" name="Content Placeholder 2"/>
          <p:cNvSpPr>
            <a:spLocks noGrp="1"/>
          </p:cNvSpPr>
          <p:nvPr userDrawn="1">
            <p:ph idx="1"/>
            <p:custDataLst>
              <p:tags r:id="rId3"/>
            </p:custDataLst>
          </p:nvPr>
        </p:nvSpPr>
        <p:spPr>
          <a:xfrm>
            <a:off x="324196" y="1235676"/>
            <a:ext cx="9511617" cy="3971324"/>
          </a:xfrm>
        </p:spPr>
        <p:txBody>
          <a:bodyPr wrap="square">
            <a:noAutofit/>
          </a:bodyPr>
          <a:lstStyle>
            <a:lvl1pPr marL="214313" indent="-214313">
              <a:buClr>
                <a:schemeClr val="accent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Nunito Sans" panose="00000500000000000000" pitchFamily="2" charset="0"/>
              </a:defRPr>
            </a:lvl1pPr>
            <a:lvl2pPr marL="426600" indent="-213300">
              <a:buClr>
                <a:schemeClr val="accent2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Nunito Sans" panose="00000500000000000000" pitchFamily="2" charset="0"/>
              </a:defRPr>
            </a:lvl2pPr>
            <a:lvl3pPr marL="639900" indent="-213300">
              <a:buClrTx/>
              <a:defRPr sz="14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Nunito Sans" panose="00000500000000000000" pitchFamily="2" charset="0"/>
              </a:defRPr>
            </a:lvl3pPr>
            <a:lvl4pPr marL="853200" indent="-213300">
              <a:buClrTx/>
              <a:defRPr sz="14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Nunito Sans" panose="00000500000000000000" pitchFamily="2" charset="0"/>
              </a:defRPr>
            </a:lvl4pPr>
            <a:lvl5pPr marL="1066500" indent="-213300">
              <a:buClrTx/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Nunito Sans" panose="000005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 hasCustomPrompt="1"/>
            <p:custDataLst>
              <p:tags r:id="rId4"/>
            </p:custDataLst>
          </p:nvPr>
        </p:nvSpPr>
        <p:spPr>
          <a:xfrm>
            <a:off x="324191" y="177610"/>
            <a:ext cx="7772400" cy="123111"/>
          </a:xfrm>
        </p:spPr>
        <p:txBody>
          <a:bodyPr wrap="square">
            <a:spAutoFit/>
          </a:bodyPr>
          <a:lstStyle>
            <a:lvl1pPr marL="0" marR="0" indent="0" algn="l" defTabSz="61912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lang="en-US" sz="800" b="0" i="0" u="none" strike="noStrike" cap="all" spc="0" dirty="0">
                <a:ln>
                  <a:noFill/>
                </a:ln>
                <a:solidFill>
                  <a:schemeClr val="accent1"/>
                </a:solidFill>
                <a:latin typeface="Nunito Sans ExtraBold" panose="00000900000000000000" pitchFamily="2" charset="0"/>
                <a:ea typeface="Nunito Sans ExtraBold" panose="00000900000000000000" pitchFamily="2" charset="0"/>
                <a:cs typeface="Nunito Sans ExtraBold" panose="00000900000000000000" pitchFamily="2" charset="0"/>
              </a:defRPr>
            </a:lvl1pPr>
          </a:lstStyle>
          <a:p>
            <a:pPr>
              <a:defRPr/>
            </a:pPr>
            <a:r>
              <a:rPr lang="en-US"/>
              <a:t>TITLE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`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title"/>
            <p:custDataLst>
              <p:tags r:id="rId5"/>
            </p:custDataLst>
          </p:nvPr>
        </p:nvSpPr>
        <p:spPr>
          <a:xfrm>
            <a:off x="324191" y="423411"/>
            <a:ext cx="9511616" cy="677108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2400" b="0" kern="1200" cap="none" baseline="0" dirty="0">
                <a:solidFill>
                  <a:schemeClr val="tx1"/>
                </a:solidFill>
                <a:latin typeface="+mj-lt"/>
                <a:ea typeface="Cardo" panose="02020600000000000000" pitchFamily="18" charset="-79"/>
                <a:cs typeface="Cardo" panose="02020600000000000000" pitchFamily="18" charset="-79"/>
              </a:defRPr>
            </a:lvl1pPr>
          </a:lstStyle>
          <a:p>
            <a:pPr marL="0" lvl="0" algn="l" defTabSz="685800" rtl="0" eaLnBrk="1" latinLnBrk="0" hangingPunct="1">
              <a:spcBef>
                <a:spcPct val="0"/>
              </a:spcBef>
              <a:buNone/>
            </a:pPr>
            <a:r>
              <a:rPr lang="en-US"/>
              <a:t>Click to edit Master title style</a:t>
            </a:r>
          </a:p>
        </p:txBody>
      </p:sp>
      <p:sp>
        <p:nvSpPr>
          <p:cNvPr id="18" name="Text Placeholder 24"/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324193" y="5483327"/>
            <a:ext cx="9282147" cy="123111"/>
          </a:xfrm>
          <a:noFill/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800" dirty="0">
                <a:solidFill>
                  <a:schemeClr val="tx1"/>
                </a:solidFill>
                <a:latin typeface="+mn-lt"/>
                <a:ea typeface="Nunito Sans" panose="00000500000000000000" pitchFamily="2" charset="0"/>
              </a:defRPr>
            </a:lvl1pPr>
          </a:lstStyle>
          <a:p>
            <a:pPr lvl="0"/>
            <a:r>
              <a:rPr lang="en-US"/>
              <a:t>Source:</a:t>
            </a:r>
          </a:p>
        </p:txBody>
      </p:sp>
    </p:spTree>
    <p:extLst>
      <p:ext uri="{BB962C8B-B14F-4D97-AF65-F5344CB8AC3E}">
        <p14:creationId xmlns:p14="http://schemas.microsoft.com/office/powerpoint/2010/main" val="418029253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4365335"/>
              </p:ext>
            </p:extLst>
          </p:nvPr>
        </p:nvGraphicFramePr>
        <p:xfrm>
          <a:off x="0" y="9"/>
          <a:ext cx="176389" cy="1763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5" progId="TCLayout.ActiveDocument.1">
                  <p:embed/>
                </p:oleObj>
              </mc:Choice>
              <mc:Fallback>
                <p:oleObj name="think-cell Slide" r:id="rId5" imgW="383" imgH="385" progId="TCLayout.ActiveDocument.1">
                  <p:embed/>
                  <p:pic>
                    <p:nvPicPr>
                      <p:cNvPr id="23" name="Object 2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9"/>
                        <a:ext cx="176389" cy="1763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 userDrawn="1">
            <p:ph idx="1"/>
            <p:custDataLst>
              <p:tags r:id="rId2"/>
            </p:custDataLst>
          </p:nvPr>
        </p:nvSpPr>
        <p:spPr>
          <a:xfrm>
            <a:off x="324196" y="1235676"/>
            <a:ext cx="9511617" cy="3971324"/>
          </a:xfrm>
        </p:spPr>
        <p:txBody>
          <a:bodyPr wrap="square">
            <a:noAutofit/>
          </a:bodyPr>
          <a:lstStyle>
            <a:lvl1pPr marL="214313" indent="-214313">
              <a:buClr>
                <a:schemeClr val="accent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Nunito Sans" panose="00000500000000000000" pitchFamily="2" charset="0"/>
                <a:ea typeface="Verdana" panose="020B0604030504040204" pitchFamily="34" charset="0"/>
                <a:cs typeface="Nunito Sans" panose="00000500000000000000" pitchFamily="2" charset="0"/>
              </a:defRPr>
            </a:lvl1pPr>
            <a:lvl2pPr marL="426600" indent="-213300">
              <a:buClr>
                <a:schemeClr val="accent2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Nunito Sans" panose="00000500000000000000" pitchFamily="2" charset="0"/>
                <a:ea typeface="Verdana" panose="020B0604030504040204" pitchFamily="34" charset="0"/>
                <a:cs typeface="Nunito Sans" panose="00000500000000000000" pitchFamily="2" charset="0"/>
              </a:defRPr>
            </a:lvl2pPr>
            <a:lvl3pPr marL="639900" indent="-213300">
              <a:buClrTx/>
              <a:defRPr sz="1400">
                <a:solidFill>
                  <a:schemeClr val="tx1"/>
                </a:solidFill>
                <a:latin typeface="Nunito Sans" panose="00000500000000000000" pitchFamily="2" charset="0"/>
                <a:ea typeface="Verdana" panose="020B0604030504040204" pitchFamily="34" charset="0"/>
                <a:cs typeface="Nunito Sans" panose="00000500000000000000" pitchFamily="2" charset="0"/>
              </a:defRPr>
            </a:lvl3pPr>
            <a:lvl4pPr marL="853200" indent="-213300">
              <a:buClrTx/>
              <a:defRPr sz="1400">
                <a:solidFill>
                  <a:schemeClr val="tx1"/>
                </a:solidFill>
                <a:latin typeface="Nunito Sans" panose="00000500000000000000" pitchFamily="2" charset="0"/>
                <a:ea typeface="Verdana" panose="020B0604030504040204" pitchFamily="34" charset="0"/>
                <a:cs typeface="Nunito Sans" panose="00000500000000000000" pitchFamily="2" charset="0"/>
              </a:defRPr>
            </a:lvl4pPr>
            <a:lvl5pPr marL="1066500" indent="-213300">
              <a:buClrTx/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Nunito Sans" panose="00000500000000000000" pitchFamily="2" charset="0"/>
                <a:ea typeface="Verdana" panose="020B0604030504040204" pitchFamily="34" charset="0"/>
                <a:cs typeface="Nunito Sans" panose="000005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title"/>
            <p:custDataLst>
              <p:tags r:id="rId3"/>
            </p:custDataLst>
          </p:nvPr>
        </p:nvSpPr>
        <p:spPr>
          <a:xfrm>
            <a:off x="324191" y="423411"/>
            <a:ext cx="9511616" cy="677108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2400" b="0" kern="1200" cap="none" baseline="0" dirty="0">
                <a:solidFill>
                  <a:schemeClr val="tx1"/>
                </a:solidFill>
                <a:latin typeface="+mj-lt"/>
                <a:ea typeface="Cardo" panose="02020600000000000000" pitchFamily="18" charset="-79"/>
                <a:cs typeface="Cardo" panose="02020600000000000000" pitchFamily="18" charset="-79"/>
              </a:defRPr>
            </a:lvl1pPr>
          </a:lstStyle>
          <a:p>
            <a:pPr marL="0" lvl="0" algn="l" defTabSz="685800" rtl="0" eaLnBrk="1" latinLnBrk="0" hangingPunct="1">
              <a:spcBef>
                <a:spcPct val="0"/>
              </a:spcBef>
              <a:buNone/>
            </a:pPr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64796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9348603"/>
              </p:ext>
            </p:extLst>
          </p:nvPr>
        </p:nvGraphicFramePr>
        <p:xfrm>
          <a:off x="0" y="9"/>
          <a:ext cx="176389" cy="1763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83" imgH="385" progId="TCLayout.ActiveDocument.1">
                  <p:embed/>
                </p:oleObj>
              </mc:Choice>
              <mc:Fallback>
                <p:oleObj name="think-cell Slide" r:id="rId8" imgW="383" imgH="385" progId="TCLayout.ActiveDocument.1">
                  <p:embed/>
                  <p:pic>
                    <p:nvPicPr>
                      <p:cNvPr id="23" name="Object 22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9"/>
                        <a:ext cx="176389" cy="1763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/>
          <p:cNvSpPr>
            <a:spLocks noGrp="1"/>
          </p:cNvSpPr>
          <p:nvPr userDrawn="1">
            <p:ph type="body" sz="quarter" idx="15" hasCustomPrompt="1"/>
            <p:custDataLst>
              <p:tags r:id="rId2"/>
            </p:custDataLst>
          </p:nvPr>
        </p:nvSpPr>
        <p:spPr>
          <a:xfrm>
            <a:off x="324195" y="176395"/>
            <a:ext cx="7772400" cy="123111"/>
          </a:xfrm>
        </p:spPr>
        <p:txBody>
          <a:bodyPr vert="horz" wrap="square" lIns="0" tIns="0" rIns="0" bIns="0" rtlCol="0">
            <a:spAutoFit/>
          </a:bodyPr>
          <a:lstStyle>
            <a:lvl1pPr marL="0" indent="0">
              <a:buNone/>
              <a:defRPr lang="en-US" sz="800" b="0" i="0" u="none" strike="noStrike" cap="all" spc="0" dirty="0">
                <a:ln>
                  <a:noFill/>
                </a:ln>
                <a:solidFill>
                  <a:schemeClr val="accent1"/>
                </a:solidFill>
                <a:latin typeface="Nunito Sans ExtraBold" panose="00000900000000000000" pitchFamily="2" charset="0"/>
                <a:ea typeface="Nunito Sans ExtraBold" panose="00000900000000000000" pitchFamily="2" charset="0"/>
                <a:cs typeface="Nunito Sans ExtraBold" panose="00000900000000000000" pitchFamily="2" charset="0"/>
              </a:defRPr>
            </a:lvl1pPr>
          </a:lstStyle>
          <a:p>
            <a:pPr marR="0" lvl="0" defTabSz="619125">
              <a:lnSpc>
                <a:spcPct val="100000"/>
              </a:lnSpc>
              <a:spcAft>
                <a:spcPts val="0"/>
              </a:spcAft>
              <a:buClrTx/>
              <a:buSzTx/>
            </a:pPr>
            <a:r>
              <a:rPr lang="en-US"/>
              <a:t>TITLE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 userDrawn="1">
            <p:ph type="title"/>
            <p:custDataLst>
              <p:tags r:id="rId3"/>
            </p:custDataLst>
          </p:nvPr>
        </p:nvSpPr>
        <p:spPr>
          <a:xfrm>
            <a:off x="324191" y="423411"/>
            <a:ext cx="9511616" cy="677108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2400" dirty="0"/>
            </a:lvl1pPr>
          </a:lstStyle>
          <a:p>
            <a:pPr marL="0" lvl="0"/>
            <a:r>
              <a:rPr lang="en-US"/>
              <a:t>Click to edit Master title styl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7E35410-9F2A-43A3-8292-6D4B06988690}"/>
              </a:ext>
            </a:extLst>
          </p:cNvPr>
          <p:cNvSpPr/>
          <p:nvPr userDrawn="1"/>
        </p:nvSpPr>
        <p:spPr bwMode="auto">
          <a:xfrm>
            <a:off x="0" y="5143500"/>
            <a:ext cx="10160000" cy="571500"/>
          </a:xfrm>
          <a:prstGeom prst="rect">
            <a:avLst/>
          </a:prstGeom>
          <a:solidFill>
            <a:schemeClr val="accent1"/>
          </a:solidFill>
          <a:ln w="12700" cap="flat">
            <a:noFill/>
            <a:miter lim="400000"/>
          </a:ln>
        </p:spPr>
        <p:style>
          <a:lnRef idx="0">
            <a:srgbClr val="000000"/>
          </a:lnRef>
          <a:fillRef idx="0">
            <a:srgbClr val="000000"/>
          </a:fillRef>
          <a:effectRef idx="0">
            <a:srgbClr val="000000"/>
          </a:effectRef>
          <a:fontRef idx="none"/>
        </p:style>
        <p:txBody>
          <a:bodyPr rtlCol="0" anchor="ctr"/>
          <a:lstStyle/>
          <a:p>
            <a:pPr algn="ctr"/>
            <a:endParaRPr lang="en-IN" sz="1350">
              <a:latin typeface="+mn-lt"/>
            </a:endParaRPr>
          </a:p>
        </p:txBody>
      </p:sp>
      <p:sp>
        <p:nvSpPr>
          <p:cNvPr id="17" name="Text Placeholder 24">
            <a:extLst>
              <a:ext uri="{FF2B5EF4-FFF2-40B4-BE49-F238E27FC236}">
                <a16:creationId xmlns:a16="http://schemas.microsoft.com/office/drawing/2014/main" id="{09A5470F-79B6-4E4C-BF7F-417ED3C028F4}"/>
              </a:ext>
            </a:extLst>
          </p:cNvPr>
          <p:cNvSpPr>
            <a:spLocks noGrp="1"/>
          </p:cNvSpPr>
          <p:nvPr>
            <p:ph type="body" sz="quarter" idx="14" hasCustomPrompt="1"/>
            <p:custDataLst>
              <p:tags r:id="rId4"/>
            </p:custDataLst>
          </p:nvPr>
        </p:nvSpPr>
        <p:spPr>
          <a:xfrm>
            <a:off x="324193" y="5316289"/>
            <a:ext cx="9282147" cy="123111"/>
          </a:xfrm>
          <a:noFill/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800" dirty="0">
                <a:solidFill>
                  <a:schemeClr val="bg1"/>
                </a:solidFill>
                <a:latin typeface="+mn-lt"/>
                <a:ea typeface="Nunito Sans" panose="00000500000000000000" pitchFamily="2" charset="0"/>
              </a:defRPr>
            </a:lvl1pPr>
          </a:lstStyle>
          <a:p>
            <a:pPr lvl="0"/>
            <a:r>
              <a:rPr lang="en-US"/>
              <a:t>Footnote: </a:t>
            </a:r>
          </a:p>
        </p:txBody>
      </p:sp>
      <p:sp>
        <p:nvSpPr>
          <p:cNvPr id="19" name="Text Placeholder 24">
            <a:extLst>
              <a:ext uri="{FF2B5EF4-FFF2-40B4-BE49-F238E27FC236}">
                <a16:creationId xmlns:a16="http://schemas.microsoft.com/office/drawing/2014/main" id="{66FF0E49-D33E-4D85-BA2F-383E7A14FB3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5"/>
            </p:custDataLst>
          </p:nvPr>
        </p:nvSpPr>
        <p:spPr>
          <a:xfrm>
            <a:off x="324193" y="5483327"/>
            <a:ext cx="9282147" cy="123111"/>
          </a:xfrm>
          <a:noFill/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800" dirty="0">
                <a:solidFill>
                  <a:schemeClr val="bg1"/>
                </a:solidFill>
                <a:latin typeface="+mn-lt"/>
                <a:ea typeface="Nunito Sans" panose="00000500000000000000" pitchFamily="2" charset="0"/>
              </a:defRPr>
            </a:lvl1pPr>
          </a:lstStyle>
          <a:p>
            <a:pPr lvl="0"/>
            <a:r>
              <a:rPr lang="en-US"/>
              <a:t>Source:</a:t>
            </a:r>
          </a:p>
        </p:txBody>
      </p:sp>
      <p:sp>
        <p:nvSpPr>
          <p:cNvPr id="20" name="Slide Number">
            <a:extLst>
              <a:ext uri="{FF2B5EF4-FFF2-40B4-BE49-F238E27FC236}">
                <a16:creationId xmlns:a16="http://schemas.microsoft.com/office/drawing/2014/main" id="{14B0990C-CCB7-49B2-903B-6481FFE81AE0}"/>
              </a:ext>
            </a:extLst>
          </p:cNvPr>
          <p:cNvSpPr txBox="1">
            <a:spLocks/>
          </p:cNvSpPr>
          <p:nvPr userDrawn="1"/>
        </p:nvSpPr>
        <p:spPr bwMode="auto">
          <a:xfrm>
            <a:off x="9830380" y="5453069"/>
            <a:ext cx="100989" cy="103875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>
            <a:spAutoFit/>
          </a:bodyPr>
          <a:lstStyle>
            <a:defPPr marL="0" marR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800" b="0" i="0" u="none" strike="noStrike" cap="none" spc="0">
                <a:ln>
                  <a:noFill/>
                </a:ln>
                <a:solidFill>
                  <a:srgbClr val="000000"/>
                </a:solidFill>
              </a:defRPr>
            </a:defPPr>
            <a:lvl1pPr marL="0" marR="0" indent="0" algn="l" defTabSz="825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2000" b="0" i="0" u="none" strike="noStrike" cap="none" spc="0">
                <a:ln>
                  <a:noFill/>
                </a:ln>
                <a:solidFill>
                  <a:srgbClr val="6D6868"/>
                </a:solidFill>
                <a:latin typeface="Helvetica Neue Light"/>
                <a:ea typeface="Helvetica Neue Light"/>
                <a:cs typeface="Helvetica Neue Light"/>
              </a:defRPr>
            </a:lvl1pPr>
            <a:lvl2pPr marL="0" marR="0" indent="228600" algn="ctr" defTabSz="825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3000" b="1" i="0" u="none" strike="noStrike" cap="none" spc="0">
                <a:ln>
                  <a:noFill/>
                </a:ln>
                <a:solidFill>
                  <a:srgbClr val="000000"/>
                </a:solidFill>
                <a:latin typeface="Helvetica Neue"/>
                <a:ea typeface="Helvetica Neue"/>
                <a:cs typeface="Helvetica Neue"/>
              </a:defRPr>
            </a:lvl2pPr>
            <a:lvl3pPr marL="0" marR="0" indent="457200" algn="ctr" defTabSz="825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3000" b="1" i="0" u="none" strike="noStrike" cap="none" spc="0">
                <a:ln>
                  <a:noFill/>
                </a:ln>
                <a:solidFill>
                  <a:srgbClr val="000000"/>
                </a:solidFill>
                <a:latin typeface="Helvetica Neue"/>
                <a:ea typeface="Helvetica Neue"/>
                <a:cs typeface="Helvetica Neue"/>
              </a:defRPr>
            </a:lvl3pPr>
            <a:lvl4pPr marL="0" marR="0" indent="685800" algn="ctr" defTabSz="825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3000" b="1" i="0" u="none" strike="noStrike" cap="none" spc="0">
                <a:ln>
                  <a:noFill/>
                </a:ln>
                <a:solidFill>
                  <a:srgbClr val="000000"/>
                </a:solidFill>
                <a:latin typeface="Helvetica Neue"/>
                <a:ea typeface="Helvetica Neue"/>
                <a:cs typeface="Helvetica Neue"/>
              </a:defRPr>
            </a:lvl4pPr>
            <a:lvl5pPr marL="0" marR="0" indent="914400" algn="ctr" defTabSz="825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3000" b="1" i="0" u="none" strike="noStrike" cap="none" spc="0">
                <a:ln>
                  <a:noFill/>
                </a:ln>
                <a:solidFill>
                  <a:srgbClr val="000000"/>
                </a:solidFill>
                <a:latin typeface="Helvetica Neue"/>
                <a:ea typeface="Helvetica Neue"/>
                <a:cs typeface="Helvetica Neue"/>
              </a:defRPr>
            </a:lvl5pPr>
            <a:lvl6pPr marL="0" marR="0" indent="1143000" algn="ctr" defTabSz="825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3000" b="1" i="0" u="none" strike="noStrike" cap="none" spc="0">
                <a:ln>
                  <a:noFill/>
                </a:ln>
                <a:solidFill>
                  <a:srgbClr val="000000"/>
                </a:solidFill>
                <a:latin typeface="Helvetica Neue"/>
                <a:ea typeface="Helvetica Neue"/>
                <a:cs typeface="Helvetica Neue"/>
              </a:defRPr>
            </a:lvl6pPr>
            <a:lvl7pPr marL="0" marR="0" indent="1371600" algn="ctr" defTabSz="825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3000" b="1" i="0" u="none" strike="noStrike" cap="none" spc="0">
                <a:ln>
                  <a:noFill/>
                </a:ln>
                <a:solidFill>
                  <a:srgbClr val="000000"/>
                </a:solidFill>
                <a:latin typeface="Helvetica Neue"/>
                <a:ea typeface="Helvetica Neue"/>
                <a:cs typeface="Helvetica Neue"/>
              </a:defRPr>
            </a:lvl7pPr>
            <a:lvl8pPr marL="0" marR="0" indent="1600200" algn="ctr" defTabSz="825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3000" b="1" i="0" u="none" strike="noStrike" cap="none" spc="0">
                <a:ln>
                  <a:noFill/>
                </a:ln>
                <a:solidFill>
                  <a:srgbClr val="000000"/>
                </a:solidFill>
                <a:latin typeface="Helvetica Neue"/>
                <a:ea typeface="Helvetica Neue"/>
                <a:cs typeface="Helvetica Neue"/>
              </a:defRPr>
            </a:lvl8pPr>
            <a:lvl9pPr marL="0" marR="0" indent="1828800" algn="ctr" defTabSz="825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3000" b="1" i="0" u="none" strike="noStrike" cap="none" spc="0">
                <a:ln>
                  <a:noFill/>
                </a:ln>
                <a:solidFill>
                  <a:srgbClr val="000000"/>
                </a:solidFill>
                <a:latin typeface="Helvetica Neue"/>
                <a:ea typeface="Helvetica Neue"/>
                <a:cs typeface="Helvetica Neue"/>
              </a:defRPr>
            </a:lvl9pPr>
          </a:lstStyle>
          <a:p>
            <a:pPr algn="r">
              <a:defRPr/>
            </a:pPr>
            <a:fld id="{86CB4B4D-7CA3-9044-876B-883B54F8677D}" type="slidenum">
              <a:rPr lang="en-IN" sz="675" smtClean="0">
                <a:solidFill>
                  <a:schemeClr val="bg1"/>
                </a:solidFill>
                <a:latin typeface="+mn-lt"/>
              </a:rPr>
              <a:pPr algn="r">
                <a:defRPr/>
              </a:pPr>
              <a:t>‹#›</a:t>
            </a:fld>
            <a:endParaRPr lang="en-IN" sz="675">
              <a:solidFill>
                <a:schemeClr val="bg1"/>
              </a:solidFill>
              <a:latin typeface="+mn-lt"/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57A91DFD-0082-4EB4-818E-60DE05096C45}"/>
              </a:ext>
            </a:extLst>
          </p:cNvPr>
          <p:cNvCxnSpPr>
            <a:cxnSpLocks/>
          </p:cNvCxnSpPr>
          <p:nvPr userDrawn="1"/>
        </p:nvCxnSpPr>
        <p:spPr>
          <a:xfrm>
            <a:off x="9754572" y="5453069"/>
            <a:ext cx="0" cy="261937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96F284A5-AA18-4F6D-8647-796EC2D80BBA}"/>
              </a:ext>
            </a:extLst>
          </p:cNvPr>
          <p:cNvSpPr>
            <a:spLocks noGrp="1"/>
          </p:cNvSpPr>
          <p:nvPr>
            <p:ph idx="17"/>
            <p:custDataLst>
              <p:tags r:id="rId6"/>
            </p:custDataLst>
          </p:nvPr>
        </p:nvSpPr>
        <p:spPr>
          <a:xfrm>
            <a:off x="324191" y="1235676"/>
            <a:ext cx="9511616" cy="3780824"/>
          </a:xfrm>
        </p:spPr>
        <p:txBody>
          <a:bodyPr wrap="square">
            <a:noAutofit/>
          </a:bodyPr>
          <a:lstStyle>
            <a:lvl1pPr marL="214313" indent="-214313">
              <a:buClr>
                <a:schemeClr val="accent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Nunito Sans" panose="00000500000000000000" pitchFamily="2" charset="0"/>
              </a:defRPr>
            </a:lvl1pPr>
            <a:lvl2pPr marL="426600" indent="-213300">
              <a:buClr>
                <a:schemeClr val="accent2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Nunito Sans" panose="00000500000000000000" pitchFamily="2" charset="0"/>
              </a:defRPr>
            </a:lvl2pPr>
            <a:lvl3pPr marL="639900" indent="-213300">
              <a:buClrTx/>
              <a:defRPr sz="14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Nunito Sans" panose="00000500000000000000" pitchFamily="2" charset="0"/>
              </a:defRPr>
            </a:lvl3pPr>
            <a:lvl4pPr marL="853200" indent="-213300">
              <a:buClrTx/>
              <a:defRPr sz="14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Nunito Sans" panose="00000500000000000000" pitchFamily="2" charset="0"/>
              </a:defRPr>
            </a:lvl4pPr>
            <a:lvl5pPr marL="1066500" indent="-213300">
              <a:buClrTx/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Nunito Sans" panose="000005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732172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8623366"/>
              </p:ext>
            </p:extLst>
          </p:nvPr>
        </p:nvGraphicFramePr>
        <p:xfrm>
          <a:off x="0" y="9"/>
          <a:ext cx="176389" cy="1763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5" progId="TCLayout.ActiveDocument.1">
                  <p:embed/>
                </p:oleObj>
              </mc:Choice>
              <mc:Fallback>
                <p:oleObj name="think-cell Slide" r:id="rId3" imgW="383" imgH="385" progId="TCLayout.ActiveDocument.1">
                  <p:embed/>
                  <p:pic>
                    <p:nvPicPr>
                      <p:cNvPr id="23" name="Object 2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0" y="9"/>
                        <a:ext cx="176389" cy="1763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2F0467D1-A9BE-F96E-1460-CB99F75D4F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3805672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2.png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4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3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/>
          </p:cNvGraphicFramePr>
          <p:nvPr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1970876181"/>
              </p:ext>
            </p:extLst>
          </p:nvPr>
        </p:nvGraphicFramePr>
        <p:xfrm>
          <a:off x="0" y="9"/>
          <a:ext cx="176389" cy="1763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7" imgW="383" imgH="385" progId="TCLayout.ActiveDocument.1">
                  <p:embed/>
                </p:oleObj>
              </mc:Choice>
              <mc:Fallback>
                <p:oleObj name="think-cell Slide" r:id="rId37" imgW="383" imgH="38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0" y="9"/>
                        <a:ext cx="176389" cy="1763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35"/>
            </p:custDataLst>
          </p:nvPr>
        </p:nvSpPr>
        <p:spPr>
          <a:xfrm>
            <a:off x="324191" y="423411"/>
            <a:ext cx="9511552" cy="67710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lvl="0"/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6"/>
            </p:custDataLst>
          </p:nvPr>
        </p:nvSpPr>
        <p:spPr>
          <a:xfrm>
            <a:off x="324191" y="1235676"/>
            <a:ext cx="9511552" cy="39713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4CAE1E4D-8DB5-4DD8-AF83-5AB988CFD52F}"/>
              </a:ext>
            </a:extLst>
          </p:cNvPr>
          <p:cNvSpPr txBox="1">
            <a:spLocks/>
          </p:cNvSpPr>
          <p:nvPr userDrawn="1"/>
        </p:nvSpPr>
        <p:spPr>
          <a:xfrm>
            <a:off x="9803127" y="5453069"/>
            <a:ext cx="128240" cy="103875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600" smtClean="0"/>
              <a:pPr lvl="0" algn="r"/>
              <a:t>‹#›</a:t>
            </a:fld>
            <a:endParaRPr lang="en-US" sz="60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A2F8BBE-91F2-45B4-9EB6-BFAEA1FB6088}"/>
              </a:ext>
            </a:extLst>
          </p:cNvPr>
          <p:cNvCxnSpPr>
            <a:cxnSpLocks/>
          </p:cNvCxnSpPr>
          <p:nvPr userDrawn="1"/>
        </p:nvCxnSpPr>
        <p:spPr>
          <a:xfrm>
            <a:off x="9754572" y="5453069"/>
            <a:ext cx="0" cy="261937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6039336E-0F1B-F632-A0C1-4DA388AF82FF}"/>
              </a:ext>
            </a:extLst>
          </p:cNvPr>
          <p:cNvSpPr/>
          <p:nvPr userDrawn="1"/>
        </p:nvSpPr>
        <p:spPr>
          <a:xfrm>
            <a:off x="5921829" y="1"/>
            <a:ext cx="4238171" cy="5714999"/>
          </a:xfrm>
          <a:custGeom>
            <a:avLst/>
            <a:gdLst>
              <a:gd name="connsiteX0" fmla="*/ 1492124 w 4238171"/>
              <a:gd name="connsiteY0" fmla="*/ 0 h 5714999"/>
              <a:gd name="connsiteX1" fmla="*/ 2399954 w 4238171"/>
              <a:gd name="connsiteY1" fmla="*/ 0 h 5714999"/>
              <a:gd name="connsiteX2" fmla="*/ 2399954 w 4238171"/>
              <a:gd name="connsiteY2" fmla="*/ 1583015 h 5714999"/>
              <a:gd name="connsiteX3" fmla="*/ 4238171 w 4238171"/>
              <a:gd name="connsiteY3" fmla="*/ 1583015 h 5714999"/>
              <a:gd name="connsiteX4" fmla="*/ 4238171 w 4238171"/>
              <a:gd name="connsiteY4" fmla="*/ 3290002 h 5714999"/>
              <a:gd name="connsiteX5" fmla="*/ 3175707 w 4238171"/>
              <a:gd name="connsiteY5" fmla="*/ 5714999 h 5714999"/>
              <a:gd name="connsiteX6" fmla="*/ 2399954 w 4238171"/>
              <a:gd name="connsiteY6" fmla="*/ 5714999 h 5714999"/>
              <a:gd name="connsiteX7" fmla="*/ 2399954 w 4238171"/>
              <a:gd name="connsiteY7" fmla="*/ 3830530 h 5714999"/>
              <a:gd name="connsiteX8" fmla="*/ 155673 w 4238171"/>
              <a:gd name="connsiteY8" fmla="*/ 3830530 h 5714999"/>
              <a:gd name="connsiteX9" fmla="*/ 0 w 4238171"/>
              <a:gd name="connsiteY9" fmla="*/ 3405665 h 5714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238171" h="5714999">
                <a:moveTo>
                  <a:pt x="1492124" y="0"/>
                </a:moveTo>
                <a:lnTo>
                  <a:pt x="2399954" y="0"/>
                </a:lnTo>
                <a:lnTo>
                  <a:pt x="2399954" y="1583015"/>
                </a:lnTo>
                <a:lnTo>
                  <a:pt x="4238171" y="1583015"/>
                </a:lnTo>
                <a:lnTo>
                  <a:pt x="4238171" y="3290002"/>
                </a:lnTo>
                <a:lnTo>
                  <a:pt x="3175707" y="5714999"/>
                </a:lnTo>
                <a:lnTo>
                  <a:pt x="2399954" y="5714999"/>
                </a:lnTo>
                <a:lnTo>
                  <a:pt x="2399954" y="3830530"/>
                </a:lnTo>
                <a:lnTo>
                  <a:pt x="155673" y="3830530"/>
                </a:lnTo>
                <a:lnTo>
                  <a:pt x="0" y="3405665"/>
                </a:lnTo>
                <a:close/>
              </a:path>
            </a:pathLst>
          </a:custGeom>
          <a:solidFill>
            <a:schemeClr val="bg1">
              <a:lumMod val="95000"/>
              <a:alpha val="4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0FCBFD4-1801-9DE5-3DE8-4DA330C0B226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61199" y="71346"/>
            <a:ext cx="1670167" cy="2441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85728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49" r:id="rId2"/>
    <p:sldLayoutId id="2147483750" r:id="rId3"/>
    <p:sldLayoutId id="2147483751" r:id="rId4"/>
    <p:sldLayoutId id="2147483752" r:id="rId5"/>
    <p:sldLayoutId id="2147483753" r:id="rId6"/>
    <p:sldLayoutId id="2147483754" r:id="rId7"/>
    <p:sldLayoutId id="2147483755" r:id="rId8"/>
    <p:sldLayoutId id="2147483756" r:id="rId9"/>
    <p:sldLayoutId id="2147483757" r:id="rId10"/>
    <p:sldLayoutId id="2147483758" r:id="rId11"/>
    <p:sldLayoutId id="2147483759" r:id="rId12"/>
    <p:sldLayoutId id="2147483760" r:id="rId13"/>
    <p:sldLayoutId id="2147483761" r:id="rId14"/>
    <p:sldLayoutId id="2147483762" r:id="rId15"/>
    <p:sldLayoutId id="2147483763" r:id="rId16"/>
    <p:sldLayoutId id="2147483764" r:id="rId17"/>
    <p:sldLayoutId id="2147483765" r:id="rId18"/>
    <p:sldLayoutId id="2147483766" r:id="rId19"/>
    <p:sldLayoutId id="2147483767" r:id="rId20"/>
    <p:sldLayoutId id="2147483769" r:id="rId21"/>
    <p:sldLayoutId id="2147483771" r:id="rId22"/>
    <p:sldLayoutId id="2147483773" r:id="rId23"/>
    <p:sldLayoutId id="2147483775" r:id="rId24"/>
    <p:sldLayoutId id="2147483774" r:id="rId25"/>
    <p:sldLayoutId id="2147483772" r:id="rId26"/>
    <p:sldLayoutId id="2147483776" r:id="rId27"/>
    <p:sldLayoutId id="2147483777" r:id="rId28"/>
    <p:sldLayoutId id="2147483778" r:id="rId29"/>
    <p:sldLayoutId id="2147483779" r:id="rId30"/>
    <p:sldLayoutId id="2147483780" r:id="rId31"/>
    <p:sldLayoutId id="2147483781" r:id="rId32"/>
  </p:sldLayoutIdLst>
  <p:hf hdr="0" ftr="0" dt="0"/>
  <p:txStyles>
    <p:titleStyle>
      <a:lvl1pPr marL="0" algn="l" defTabSz="685800" rtl="0" eaLnBrk="1" latinLnBrk="0" hangingPunct="1">
        <a:spcBef>
          <a:spcPct val="0"/>
        </a:spcBef>
        <a:buNone/>
        <a:defRPr lang="en-US" sz="2400" b="0" kern="1200" cap="none" baseline="0" dirty="0">
          <a:solidFill>
            <a:schemeClr val="tx1"/>
          </a:solidFill>
          <a:latin typeface="+mj-lt"/>
          <a:ea typeface="Cardo" panose="02020600000000000000" pitchFamily="18" charset="-79"/>
          <a:cs typeface="Cardo" panose="02020600000000000000" pitchFamily="18" charset="-79"/>
        </a:defRPr>
      </a:lvl1pPr>
    </p:titleStyle>
    <p:bodyStyle>
      <a:lvl1pPr marL="0" indent="0" algn="l" defTabSz="685800" rtl="0" eaLnBrk="1" latinLnBrk="0" hangingPunct="1"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None/>
        <a:defRPr lang="en-US" sz="1400" kern="1200" dirty="0">
          <a:solidFill>
            <a:schemeClr val="tx1"/>
          </a:solidFill>
          <a:latin typeface="+mn-lt"/>
          <a:ea typeface="Verdana" panose="020B0604030504040204" pitchFamily="34" charset="0"/>
          <a:cs typeface="Nunito Sans" panose="00000500000000000000" pitchFamily="2" charset="0"/>
        </a:defRPr>
      </a:lvl1pPr>
      <a:lvl2pPr marL="171450" indent="-171450" algn="l" defTabSz="685800" rtl="0" eaLnBrk="1" latinLnBrk="0" hangingPunct="1">
        <a:spcBef>
          <a:spcPts val="0"/>
        </a:spcBef>
        <a:spcAft>
          <a:spcPts val="600"/>
        </a:spcAft>
        <a:buClr>
          <a:schemeClr val="accent1"/>
        </a:buClr>
        <a:buFont typeface="Wingdings" pitchFamily="2" charset="2"/>
        <a:buChar char="§"/>
        <a:defRPr lang="en-US" sz="1400" kern="1200" dirty="0">
          <a:solidFill>
            <a:schemeClr val="tx1"/>
          </a:solidFill>
          <a:latin typeface="+mn-lt"/>
          <a:ea typeface="Verdana" panose="020B0604030504040204" pitchFamily="34" charset="0"/>
          <a:cs typeface="Nunito Sans" panose="00000500000000000000" pitchFamily="2" charset="0"/>
        </a:defRPr>
      </a:lvl2pPr>
      <a:lvl3pPr marL="342900" indent="-171450" algn="l" defTabSz="685800" rtl="0" eaLnBrk="1" latinLnBrk="0" hangingPunct="1"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lang="en-US" sz="1400" kern="1200" dirty="0">
          <a:solidFill>
            <a:schemeClr val="tx1"/>
          </a:solidFill>
          <a:latin typeface="+mn-lt"/>
          <a:ea typeface="Verdana" panose="020B0604030504040204" pitchFamily="34" charset="0"/>
          <a:cs typeface="Nunito Sans" panose="00000500000000000000" pitchFamily="2" charset="0"/>
        </a:defRPr>
      </a:lvl3pPr>
      <a:lvl4pPr marL="514350" indent="-171450" algn="l" defTabSz="685800" rtl="0" eaLnBrk="1" latinLnBrk="0" hangingPunct="1"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lang="en-US" sz="1400" kern="1200" dirty="0">
          <a:solidFill>
            <a:schemeClr val="tx1"/>
          </a:solidFill>
          <a:latin typeface="+mn-lt"/>
          <a:ea typeface="Verdana" panose="020B0604030504040204" pitchFamily="34" charset="0"/>
          <a:cs typeface="Nunito Sans" panose="00000500000000000000" pitchFamily="2" charset="0"/>
        </a:defRPr>
      </a:lvl4pPr>
      <a:lvl5pPr marL="685800" indent="-171450" algn="l" defTabSz="685800" rtl="0" eaLnBrk="1" latinLnBrk="0" hangingPunct="1">
        <a:spcBef>
          <a:spcPts val="0"/>
        </a:spcBef>
        <a:spcAft>
          <a:spcPts val="600"/>
        </a:spcAft>
        <a:buFont typeface="Arial" panose="020B0604020202020204" pitchFamily="34" charset="0"/>
        <a:buChar char="»"/>
        <a:defRPr lang="en-US" sz="1400" kern="1200" dirty="0">
          <a:solidFill>
            <a:schemeClr val="tx1"/>
          </a:solidFill>
          <a:latin typeface="+mn-lt"/>
          <a:ea typeface="Verdana" panose="020B0604030504040204" pitchFamily="34" charset="0"/>
          <a:cs typeface="Nunito Sans" panose="00000500000000000000" pitchFamily="2" charset="0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56" userDrawn="1">
          <p15:clr>
            <a:srgbClr val="F26B43"/>
          </p15:clr>
        </p15:guide>
        <p15:guide id="3" pos="6216" userDrawn="1">
          <p15:clr>
            <a:srgbClr val="F26B43"/>
          </p15:clr>
        </p15:guide>
        <p15:guide id="4" pos="200" userDrawn="1">
          <p15:clr>
            <a:srgbClr val="F26B43"/>
          </p15:clr>
        </p15:guide>
        <p15:guide id="5" orient="horz" pos="768" userDrawn="1">
          <p15:clr>
            <a:srgbClr val="F26B43"/>
          </p15:clr>
        </p15:guide>
        <p15:guide id="6" orient="horz" pos="329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14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bm.com/topics/knowledge-graph" TargetMode="External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1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2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7.xml"/><Relationship Id="rId6" Type="http://schemas.openxmlformats.org/officeDocument/2006/relationships/hyperlink" Target="https://kind.io.tudelft.nl/replanit/docs/" TargetMode="External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0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3.xml"/><Relationship Id="rId4" Type="http://schemas.openxmlformats.org/officeDocument/2006/relationships/hyperlink" Target="https://kind.io.tudelft.nl/replanit/docs/" TargetMode="Externa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42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s://app.swaggerhub.com/apis-docs/RePlanIT/RePlanITLaptopDPP/1.2.0#/" TargetMode="External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hyperlink" Target="https://usi.nl/wp-content/uploads/2021/02/Eindrapport-Naar-een-circulaire-keten-voor-ICT-def.pdf" TargetMode="External"/><Relationship Id="rId1" Type="http://schemas.openxmlformats.org/officeDocument/2006/relationships/slideLayout" Target="../slideLayouts/slideLayout1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7" Type="http://schemas.openxmlformats.org/officeDocument/2006/relationships/image" Target="../media/image4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48.png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6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7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8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svg"/><Relationship Id="rId13" Type="http://schemas.openxmlformats.org/officeDocument/2006/relationships/image" Target="../media/image49.png"/><Relationship Id="rId3" Type="http://schemas.openxmlformats.org/officeDocument/2006/relationships/image" Target="../media/image53.png"/><Relationship Id="rId7" Type="http://schemas.openxmlformats.org/officeDocument/2006/relationships/image" Target="../media/image57.png"/><Relationship Id="rId12" Type="http://schemas.openxmlformats.org/officeDocument/2006/relationships/image" Target="../media/image62.sv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56.svg"/><Relationship Id="rId11" Type="http://schemas.openxmlformats.org/officeDocument/2006/relationships/image" Target="../media/image61.png"/><Relationship Id="rId5" Type="http://schemas.openxmlformats.org/officeDocument/2006/relationships/image" Target="../media/image55.png"/><Relationship Id="rId10" Type="http://schemas.openxmlformats.org/officeDocument/2006/relationships/image" Target="../media/image60.svg"/><Relationship Id="rId4" Type="http://schemas.openxmlformats.org/officeDocument/2006/relationships/image" Target="../media/image54.svg"/><Relationship Id="rId9" Type="http://schemas.openxmlformats.org/officeDocument/2006/relationships/image" Target="../media/image59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64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66.png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6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28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28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jpeg"/><Relationship Id="rId1" Type="http://schemas.openxmlformats.org/officeDocument/2006/relationships/slideLayout" Target="../slideLayouts/slideLayout14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17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65.xml"/><Relationship Id="rId4" Type="http://schemas.openxmlformats.org/officeDocument/2006/relationships/image" Target="../media/image73.emf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png"/><Relationship Id="rId3" Type="http://schemas.openxmlformats.org/officeDocument/2006/relationships/oleObject" Target="../embeddings/oleObject18.bin"/><Relationship Id="rId7" Type="http://schemas.openxmlformats.org/officeDocument/2006/relationships/image" Target="../media/image76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6.xml"/><Relationship Id="rId6" Type="http://schemas.openxmlformats.org/officeDocument/2006/relationships/image" Target="../media/image75.png"/><Relationship Id="rId5" Type="http://schemas.openxmlformats.org/officeDocument/2006/relationships/image" Target="../media/image74.png"/><Relationship Id="rId10" Type="http://schemas.openxmlformats.org/officeDocument/2006/relationships/image" Target="../media/image79.png"/><Relationship Id="rId4" Type="http://schemas.openxmlformats.org/officeDocument/2006/relationships/image" Target="../media/image73.emf"/><Relationship Id="rId9" Type="http://schemas.openxmlformats.org/officeDocument/2006/relationships/image" Target="../media/image78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7.xml"/><Relationship Id="rId5" Type="http://schemas.openxmlformats.org/officeDocument/2006/relationships/image" Target="../media/image80.jpeg"/><Relationship Id="rId4" Type="http://schemas.openxmlformats.org/officeDocument/2006/relationships/image" Target="../media/image73.emf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8.xml"/><Relationship Id="rId4" Type="http://schemas.openxmlformats.org/officeDocument/2006/relationships/image" Target="../media/image73.emf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69.xml"/><Relationship Id="rId4" Type="http://schemas.openxmlformats.org/officeDocument/2006/relationships/image" Target="../media/image73.emf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70.xml"/><Relationship Id="rId4" Type="http://schemas.openxmlformats.org/officeDocument/2006/relationships/image" Target="../media/image73.emf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71.xml"/><Relationship Id="rId5" Type="http://schemas.openxmlformats.org/officeDocument/2006/relationships/image" Target="../media/image81.png"/><Relationship Id="rId4" Type="http://schemas.openxmlformats.org/officeDocument/2006/relationships/image" Target="../media/image73.emf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72.xml"/><Relationship Id="rId5" Type="http://schemas.openxmlformats.org/officeDocument/2006/relationships/image" Target="../media/image82.png"/><Relationship Id="rId4" Type="http://schemas.openxmlformats.org/officeDocument/2006/relationships/image" Target="../media/image73.emf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73.xml"/><Relationship Id="rId6" Type="http://schemas.openxmlformats.org/officeDocument/2006/relationships/image" Target="../media/image84.png"/><Relationship Id="rId5" Type="http://schemas.openxmlformats.org/officeDocument/2006/relationships/image" Target="../media/image83.png"/><Relationship Id="rId4" Type="http://schemas.openxmlformats.org/officeDocument/2006/relationships/image" Target="../media/image73.emf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74.xml"/><Relationship Id="rId5" Type="http://schemas.openxmlformats.org/officeDocument/2006/relationships/image" Target="../media/image85.png"/><Relationship Id="rId4" Type="http://schemas.openxmlformats.org/officeDocument/2006/relationships/image" Target="../media/image73.emf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75.xml"/><Relationship Id="rId4" Type="http://schemas.openxmlformats.org/officeDocument/2006/relationships/image" Target="../media/image73.emf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23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7" Type="http://schemas.openxmlformats.org/officeDocument/2006/relationships/hyperlink" Target="http://www.zirrow.nl" TargetMode="Externa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76.xml"/><Relationship Id="rId6" Type="http://schemas.openxmlformats.org/officeDocument/2006/relationships/hyperlink" Target="mailto:Pierre@zirrow.nl" TargetMode="External"/><Relationship Id="rId5" Type="http://schemas.openxmlformats.org/officeDocument/2006/relationships/hyperlink" Target="mailto:Menno@zirrow.nl" TargetMode="External"/><Relationship Id="rId4" Type="http://schemas.openxmlformats.org/officeDocument/2006/relationships/image" Target="../media/image73.emf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2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D4DED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>
            <a:off x="9026145" y="5218890"/>
            <a:ext cx="903801" cy="314071"/>
          </a:xfrm>
          <a:custGeom>
            <a:avLst/>
            <a:gdLst/>
            <a:ahLst/>
            <a:cxnLst/>
            <a:rect l="l" t="t" r="r" b="b"/>
            <a:pathLst>
              <a:path w="1626842" h="565328">
                <a:moveTo>
                  <a:pt x="0" y="0"/>
                </a:moveTo>
                <a:lnTo>
                  <a:pt x="1626843" y="0"/>
                </a:lnTo>
                <a:lnTo>
                  <a:pt x="1626843" y="565328"/>
                </a:lnTo>
                <a:lnTo>
                  <a:pt x="0" y="565328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3975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7949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61924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15898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69873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23848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77822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31797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l-NL" sz="556"/>
          </a:p>
        </p:txBody>
      </p:sp>
      <p:grpSp>
        <p:nvGrpSpPr>
          <p:cNvPr id="3" name="Group 3"/>
          <p:cNvGrpSpPr/>
          <p:nvPr/>
        </p:nvGrpSpPr>
        <p:grpSpPr>
          <a:xfrm>
            <a:off x="4191437" y="1545167"/>
            <a:ext cx="1900844" cy="383963"/>
            <a:chOff x="0" y="0"/>
            <a:chExt cx="1650360" cy="368271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1650360" cy="368271"/>
            </a:xfrm>
            <a:custGeom>
              <a:avLst/>
              <a:gdLst/>
              <a:ahLst/>
              <a:cxnLst/>
              <a:rect l="l" t="t" r="r" b="b"/>
              <a:pathLst>
                <a:path w="1650360" h="368271">
                  <a:moveTo>
                    <a:pt x="1447160" y="0"/>
                  </a:moveTo>
                  <a:cubicBezTo>
                    <a:pt x="1559385" y="0"/>
                    <a:pt x="1650360" y="82440"/>
                    <a:pt x="1650360" y="184135"/>
                  </a:cubicBezTo>
                  <a:cubicBezTo>
                    <a:pt x="1650360" y="285830"/>
                    <a:pt x="1559385" y="368271"/>
                    <a:pt x="1447160" y="368271"/>
                  </a:cubicBezTo>
                  <a:lnTo>
                    <a:pt x="203200" y="368271"/>
                  </a:lnTo>
                  <a:cubicBezTo>
                    <a:pt x="90976" y="368271"/>
                    <a:pt x="0" y="285830"/>
                    <a:pt x="0" y="184135"/>
                  </a:cubicBezTo>
                  <a:cubicBezTo>
                    <a:pt x="0" y="82440"/>
                    <a:pt x="90976" y="0"/>
                    <a:pt x="203200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28575" cap="sq">
              <a:solidFill>
                <a:srgbClr val="51215B"/>
              </a:solidFill>
              <a:prstDash val="solid"/>
              <a:miter/>
            </a:ln>
          </p:spPr>
          <p:txBody>
            <a:bodyPr/>
            <a:lstStyle>
              <a:defPPr>
                <a:defRPr lang="en-US"/>
              </a:defPPr>
              <a:lvl1pPr marL="0" algn="l" defTabSz="507949" rtl="0" eaLnBrk="1" latinLnBrk="0" hangingPunct="1"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53975" algn="l" defTabSz="507949" rtl="0" eaLnBrk="1" latinLnBrk="0" hangingPunct="1"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07949" algn="l" defTabSz="507949" rtl="0" eaLnBrk="1" latinLnBrk="0" hangingPunct="1"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61924" algn="l" defTabSz="507949" rtl="0" eaLnBrk="1" latinLnBrk="0" hangingPunct="1"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15898" algn="l" defTabSz="507949" rtl="0" eaLnBrk="1" latinLnBrk="0" hangingPunct="1"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269873" algn="l" defTabSz="507949" rtl="0" eaLnBrk="1" latinLnBrk="0" hangingPunct="1"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523848" algn="l" defTabSz="507949" rtl="0" eaLnBrk="1" latinLnBrk="0" hangingPunct="1"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777822" algn="l" defTabSz="507949" rtl="0" eaLnBrk="1" latinLnBrk="0" hangingPunct="1"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031797" algn="l" defTabSz="507949" rtl="0" eaLnBrk="1" latinLnBrk="0" hangingPunct="1"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nl-NL" sz="556"/>
            </a:p>
          </p:txBody>
        </p:sp>
        <p:sp>
          <p:nvSpPr>
            <p:cNvPr id="5" name="TextBox 5"/>
            <p:cNvSpPr txBox="1"/>
            <p:nvPr/>
          </p:nvSpPr>
          <p:spPr>
            <a:xfrm>
              <a:off x="0" y="0"/>
              <a:ext cx="1650360" cy="368271"/>
            </a:xfrm>
            <a:prstGeom prst="rect">
              <a:avLst/>
            </a:prstGeom>
          </p:spPr>
          <p:txBody>
            <a:bodyPr lIns="28222" tIns="28222" rIns="28222" bIns="28222" rtlCol="0" anchor="ctr"/>
            <a:lstStyle>
              <a:defPPr>
                <a:defRPr lang="en-US"/>
              </a:defPPr>
              <a:lvl1pPr marL="0" algn="l" defTabSz="507949" rtl="0" eaLnBrk="1" latinLnBrk="0" hangingPunct="1"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53975" algn="l" defTabSz="507949" rtl="0" eaLnBrk="1" latinLnBrk="0" hangingPunct="1"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07949" algn="l" defTabSz="507949" rtl="0" eaLnBrk="1" latinLnBrk="0" hangingPunct="1"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61924" algn="l" defTabSz="507949" rtl="0" eaLnBrk="1" latinLnBrk="0" hangingPunct="1"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15898" algn="l" defTabSz="507949" rtl="0" eaLnBrk="1" latinLnBrk="0" hangingPunct="1"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269873" algn="l" defTabSz="507949" rtl="0" eaLnBrk="1" latinLnBrk="0" hangingPunct="1"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523848" algn="l" defTabSz="507949" rtl="0" eaLnBrk="1" latinLnBrk="0" hangingPunct="1"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777822" algn="l" defTabSz="507949" rtl="0" eaLnBrk="1" latinLnBrk="0" hangingPunct="1"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031797" algn="l" defTabSz="507949" rtl="0" eaLnBrk="1" latinLnBrk="0" hangingPunct="1"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ts val="1840"/>
                </a:lnSpc>
              </a:pPr>
              <a:r>
                <a:rPr lang="en-US" sz="1333" spc="131">
                  <a:solidFill>
                    <a:srgbClr val="51215B"/>
                  </a:solidFill>
                  <a:latin typeface="Arial Bold"/>
                </a:rPr>
                <a:t>Lorem Ipsum</a:t>
              </a:r>
            </a:p>
          </p:txBody>
        </p:sp>
      </p:grpSp>
      <p:sp>
        <p:nvSpPr>
          <p:cNvPr id="6" name="Freeform 6"/>
          <p:cNvSpPr/>
          <p:nvPr/>
        </p:nvSpPr>
        <p:spPr>
          <a:xfrm rot="8392170">
            <a:off x="-1500695" y="368567"/>
            <a:ext cx="5918670" cy="7357282"/>
          </a:xfrm>
          <a:custGeom>
            <a:avLst/>
            <a:gdLst/>
            <a:ahLst/>
            <a:cxnLst/>
            <a:rect l="l" t="t" r="r" b="b"/>
            <a:pathLst>
              <a:path w="10653606" h="13243107">
                <a:moveTo>
                  <a:pt x="0" y="0"/>
                </a:moveTo>
                <a:lnTo>
                  <a:pt x="10653606" y="0"/>
                </a:lnTo>
                <a:lnTo>
                  <a:pt x="10653606" y="13243106"/>
                </a:lnTo>
                <a:lnTo>
                  <a:pt x="0" y="13243106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alphaModFix amt="19999"/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3975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7949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61924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15898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69873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23848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77822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31797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 sz="556"/>
              <a:t>z</a:t>
            </a:r>
          </a:p>
        </p:txBody>
      </p:sp>
      <p:sp>
        <p:nvSpPr>
          <p:cNvPr id="7" name="TextBox 7"/>
          <p:cNvSpPr txBox="1"/>
          <p:nvPr/>
        </p:nvSpPr>
        <p:spPr>
          <a:xfrm>
            <a:off x="2900575" y="3748053"/>
            <a:ext cx="4479184" cy="25699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3975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7949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61924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15898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69873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23848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77822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31797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2178"/>
              </a:lnSpc>
            </a:pPr>
            <a:r>
              <a:rPr lang="en-US" sz="1556" spc="78" err="1">
                <a:solidFill>
                  <a:srgbClr val="35744F"/>
                </a:solidFill>
                <a:latin typeface="Arial Bold"/>
              </a:rPr>
              <a:t>Nationale</a:t>
            </a:r>
            <a:r>
              <a:rPr lang="en-US" sz="1556" spc="78">
                <a:solidFill>
                  <a:srgbClr val="35744F"/>
                </a:solidFill>
                <a:latin typeface="Arial Bold"/>
              </a:rPr>
              <a:t> </a:t>
            </a:r>
            <a:r>
              <a:rPr lang="en-US" sz="1556" spc="78" err="1">
                <a:solidFill>
                  <a:srgbClr val="35744F"/>
                </a:solidFill>
                <a:latin typeface="Arial Bold"/>
              </a:rPr>
              <a:t>Coalitie</a:t>
            </a:r>
            <a:r>
              <a:rPr lang="en-US" sz="1556" spc="78">
                <a:solidFill>
                  <a:srgbClr val="35744F"/>
                </a:solidFill>
                <a:latin typeface="Arial Bold"/>
              </a:rPr>
              <a:t> </a:t>
            </a:r>
            <a:r>
              <a:rPr lang="en-US" sz="1556" spc="78" err="1">
                <a:solidFill>
                  <a:srgbClr val="35744F"/>
                </a:solidFill>
                <a:latin typeface="Arial Bold"/>
              </a:rPr>
              <a:t>Duurzame</a:t>
            </a:r>
            <a:r>
              <a:rPr lang="en-US" sz="1556" spc="78">
                <a:solidFill>
                  <a:srgbClr val="35744F"/>
                </a:solidFill>
                <a:latin typeface="Arial Bold"/>
              </a:rPr>
              <a:t> </a:t>
            </a:r>
            <a:r>
              <a:rPr lang="en-US" sz="1556" spc="78" err="1">
                <a:solidFill>
                  <a:srgbClr val="35744F"/>
                </a:solidFill>
                <a:latin typeface="Arial Bold"/>
              </a:rPr>
              <a:t>Digitalisering</a:t>
            </a:r>
            <a:endParaRPr lang="en-US" sz="1556" spc="78">
              <a:solidFill>
                <a:srgbClr val="35744F"/>
              </a:solidFill>
              <a:latin typeface="Arial Bold"/>
            </a:endParaRPr>
          </a:p>
        </p:txBody>
      </p:sp>
      <p:sp>
        <p:nvSpPr>
          <p:cNvPr id="8" name="TextBox 8"/>
          <p:cNvSpPr txBox="1"/>
          <p:nvPr/>
        </p:nvSpPr>
        <p:spPr>
          <a:xfrm>
            <a:off x="2152333" y="2164786"/>
            <a:ext cx="5975667" cy="155669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3975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7949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61924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15898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69873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23848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77822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31797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5867"/>
              </a:lnSpc>
            </a:pPr>
            <a:r>
              <a:rPr lang="en-US" sz="6112" err="1">
                <a:solidFill>
                  <a:srgbClr val="35744F"/>
                </a:solidFill>
                <a:latin typeface="Arial Bold"/>
              </a:rPr>
              <a:t>Presentatie</a:t>
            </a:r>
            <a:r>
              <a:rPr lang="en-US" sz="6112">
                <a:solidFill>
                  <a:srgbClr val="35744F"/>
                </a:solidFill>
                <a:latin typeface="Arial Bold"/>
              </a:rPr>
              <a:t> template</a:t>
            </a:r>
          </a:p>
        </p:txBody>
      </p:sp>
      <p:pic>
        <p:nvPicPr>
          <p:cNvPr id="9" name="Picture 8" descr="A white background with text and purple and green text&#10;&#10;Description automatically generated">
            <a:extLst>
              <a:ext uri="{FF2B5EF4-FFF2-40B4-BE49-F238E27FC236}">
                <a16:creationId xmlns:a16="http://schemas.microsoft.com/office/drawing/2014/main" id="{1B68B5CE-B81E-DBA6-1FA1-26A96C83890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025" y="5639"/>
            <a:ext cx="10139951" cy="5703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537273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6" name="Rectangle 15">
            <a:extLst>
              <a:ext uri="{FF2B5EF4-FFF2-40B4-BE49-F238E27FC236}">
                <a16:creationId xmlns:a16="http://schemas.microsoft.com/office/drawing/2014/main" id="{7517A47C-B2E5-4B79-8061-D74B1311AF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0160000" cy="5715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18" name="Freeform: Shape 17">
            <a:extLst>
              <a:ext uri="{FF2B5EF4-FFF2-40B4-BE49-F238E27FC236}">
                <a16:creationId xmlns:a16="http://schemas.microsoft.com/office/drawing/2014/main" id="{C505E780-2083-4CB5-A42A-5E0E2908ECC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015740" cy="5715000"/>
          </a:xfrm>
          <a:custGeom>
            <a:avLst/>
            <a:gdLst>
              <a:gd name="connsiteX0" fmla="*/ 0 w 4818889"/>
              <a:gd name="connsiteY0" fmla="*/ 0 h 6858000"/>
              <a:gd name="connsiteX1" fmla="*/ 3605911 w 4818889"/>
              <a:gd name="connsiteY1" fmla="*/ 0 h 6858000"/>
              <a:gd name="connsiteX2" fmla="*/ 3668894 w 4818889"/>
              <a:gd name="connsiteY2" fmla="*/ 69271 h 6858000"/>
              <a:gd name="connsiteX3" fmla="*/ 4818889 w 4818889"/>
              <a:gd name="connsiteY3" fmla="*/ 3429000 h 6858000"/>
              <a:gd name="connsiteX4" fmla="*/ 3668894 w 4818889"/>
              <a:gd name="connsiteY4" fmla="*/ 6788730 h 6858000"/>
              <a:gd name="connsiteX5" fmla="*/ 3605911 w 4818889"/>
              <a:gd name="connsiteY5" fmla="*/ 6858000 h 6858000"/>
              <a:gd name="connsiteX6" fmla="*/ 0 w 4818889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818889" h="6858000">
                <a:moveTo>
                  <a:pt x="0" y="0"/>
                </a:moveTo>
                <a:lnTo>
                  <a:pt x="3605911" y="0"/>
                </a:lnTo>
                <a:lnTo>
                  <a:pt x="3668894" y="69271"/>
                </a:lnTo>
                <a:cubicBezTo>
                  <a:pt x="4379420" y="929100"/>
                  <a:pt x="4818889" y="2116944"/>
                  <a:pt x="4818889" y="3429000"/>
                </a:cubicBezTo>
                <a:cubicBezTo>
                  <a:pt x="4818889" y="4741056"/>
                  <a:pt x="4379420" y="5928900"/>
                  <a:pt x="3668894" y="6788730"/>
                </a:cubicBezTo>
                <a:lnTo>
                  <a:pt x="3605911" y="6858000"/>
                </a:lnTo>
                <a:lnTo>
                  <a:pt x="0" y="6858000"/>
                </a:lnTo>
                <a:close/>
              </a:path>
            </a:pathLst>
          </a:custGeom>
          <a:ln w="9525">
            <a:solidFill>
              <a:srgbClr val="EFEFEF"/>
            </a:solidFill>
          </a:ln>
          <a:effectLst>
            <a:outerShdw blurRad="88900" dist="38100" algn="l" rotWithShape="0">
              <a:schemeClr val="bg1">
                <a:lumMod val="85000"/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 useBgFill="1">
        <p:nvSpPr>
          <p:cNvPr id="20" name="Freeform: Shape 19">
            <a:extLst>
              <a:ext uri="{FF2B5EF4-FFF2-40B4-BE49-F238E27FC236}">
                <a16:creationId xmlns:a16="http://schemas.microsoft.com/office/drawing/2014/main" id="{D2C0AE1C-0118-41AE-8A10-7CDCBF10E9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009565" cy="5715000"/>
          </a:xfrm>
          <a:custGeom>
            <a:avLst/>
            <a:gdLst>
              <a:gd name="connsiteX0" fmla="*/ 0 w 4811477"/>
              <a:gd name="connsiteY0" fmla="*/ 0 h 6858000"/>
              <a:gd name="connsiteX1" fmla="*/ 3598499 w 4811477"/>
              <a:gd name="connsiteY1" fmla="*/ 0 h 6858000"/>
              <a:gd name="connsiteX2" fmla="*/ 3661482 w 4811477"/>
              <a:gd name="connsiteY2" fmla="*/ 69271 h 6858000"/>
              <a:gd name="connsiteX3" fmla="*/ 4811477 w 4811477"/>
              <a:gd name="connsiteY3" fmla="*/ 3429000 h 6858000"/>
              <a:gd name="connsiteX4" fmla="*/ 3661482 w 4811477"/>
              <a:gd name="connsiteY4" fmla="*/ 6788730 h 6858000"/>
              <a:gd name="connsiteX5" fmla="*/ 3598499 w 4811477"/>
              <a:gd name="connsiteY5" fmla="*/ 6858000 h 6858000"/>
              <a:gd name="connsiteX6" fmla="*/ 0 w 4811477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811477" h="6858000">
                <a:moveTo>
                  <a:pt x="0" y="0"/>
                </a:moveTo>
                <a:lnTo>
                  <a:pt x="3598499" y="0"/>
                </a:lnTo>
                <a:lnTo>
                  <a:pt x="3661482" y="69271"/>
                </a:lnTo>
                <a:cubicBezTo>
                  <a:pt x="4372008" y="929100"/>
                  <a:pt x="4811477" y="2116944"/>
                  <a:pt x="4811477" y="3429000"/>
                </a:cubicBezTo>
                <a:cubicBezTo>
                  <a:pt x="4811477" y="4741056"/>
                  <a:pt x="4372008" y="5928900"/>
                  <a:pt x="3661482" y="6788730"/>
                </a:cubicBezTo>
                <a:lnTo>
                  <a:pt x="3598499" y="6858000"/>
                </a:lnTo>
                <a:lnTo>
                  <a:pt x="0" y="6858000"/>
                </a:lnTo>
                <a:close/>
              </a:path>
            </a:pathLst>
          </a:cu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itle 2">
            <a:extLst>
              <a:ext uri="{FF2B5EF4-FFF2-40B4-BE49-F238E27FC236}">
                <a16:creationId xmlns:a16="http://schemas.microsoft.com/office/drawing/2014/main" id="{92C109AE-A778-9260-BD74-C29320AD8B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160" y="967740"/>
            <a:ext cx="3002280" cy="3771900"/>
          </a:xfrm>
        </p:spPr>
        <p:txBody>
          <a:bodyPr>
            <a:normAutofit/>
          </a:bodyPr>
          <a:lstStyle>
            <a:defPPr>
              <a:defRPr lang="en-US"/>
            </a:defPPr>
            <a:lvl1pPr marL="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0985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6197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295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2393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492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8590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66893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47878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3300" b="1">
                <a:latin typeface="Arial Bold"/>
                <a:cs typeface="Arial Bold"/>
              </a:rPr>
              <a:t>The RePlanIT Technology Foundation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463EEC44-1BA3-44ED-81FC-A644B04B2A4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2567940"/>
            <a:ext cx="106680" cy="58674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515DA4FE-DF94-7BF8-D1DB-117210ED7D83}"/>
              </a:ext>
            </a:extLst>
          </p:cNvPr>
          <p:cNvSpPr>
            <a:spLocks/>
          </p:cNvSpPr>
          <p:nvPr/>
        </p:nvSpPr>
        <p:spPr>
          <a:xfrm>
            <a:off x="8478821" y="3893229"/>
            <a:ext cx="1244299" cy="165619"/>
          </a:xfrm>
        </p:spPr>
        <p:txBody>
          <a:bodyPr/>
          <a:lstStyle>
            <a:defPPr>
              <a:defRPr lang="en-US"/>
            </a:defPPr>
            <a:lvl1pPr marL="0" algn="l" defTabSz="634950" rtl="0" eaLnBrk="1" latinLnBrk="0" hangingPunct="1">
              <a:defRPr sz="12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17475" algn="l" defTabSz="634950" rtl="0" eaLnBrk="1" latinLnBrk="0" hangingPunct="1">
              <a:defRPr sz="12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34950" algn="l" defTabSz="634950" rtl="0" eaLnBrk="1" latinLnBrk="0" hangingPunct="1">
              <a:defRPr sz="12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52424" algn="l" defTabSz="634950" rtl="0" eaLnBrk="1" latinLnBrk="0" hangingPunct="1">
              <a:defRPr sz="12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69898" algn="l" defTabSz="634950" rtl="0" eaLnBrk="1" latinLnBrk="0" hangingPunct="1">
              <a:defRPr sz="12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87373" algn="l" defTabSz="634950" rtl="0" eaLnBrk="1" latinLnBrk="0" hangingPunct="1">
              <a:defRPr sz="12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04848" algn="l" defTabSz="634950" rtl="0" eaLnBrk="1" latinLnBrk="0" hangingPunct="1">
              <a:defRPr sz="12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22322" algn="l" defTabSz="634950" rtl="0" eaLnBrk="1" latinLnBrk="0" hangingPunct="1">
              <a:defRPr sz="12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39797" algn="l" defTabSz="634950" rtl="0" eaLnBrk="1" latinLnBrk="0" hangingPunct="1">
              <a:defRPr sz="12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342873">
              <a:spcAft>
                <a:spcPts val="600"/>
              </a:spcAft>
            </a:pPr>
            <a:fld id="{559B216C-2BAF-8745-9A00-96D076C2F829}" type="slidenum">
              <a:rPr lang="nl-NL" sz="675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defTabSz="342873">
                <a:spcAft>
                  <a:spcPts val="600"/>
                </a:spcAft>
              </a:pPr>
              <a:t>10</a:t>
            </a:fld>
            <a:endParaRPr lang="nl-NL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EF02079-2A01-B8FB-2A2C-FC6C32F10F67}"/>
              </a:ext>
            </a:extLst>
          </p:cNvPr>
          <p:cNvSpPr txBox="1"/>
          <p:nvPr/>
        </p:nvSpPr>
        <p:spPr>
          <a:xfrm>
            <a:off x="4573775" y="2030911"/>
            <a:ext cx="2938490" cy="12906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8099" tIns="38099" rIns="38099" bIns="38099" numCol="1" spcCol="38100" rtlCol="0" anchor="t">
            <a:spAutoFit/>
          </a:bodyPr>
          <a:lstStyle>
            <a:defPPr>
              <a:defRPr lang="en-US"/>
            </a:defPPr>
            <a:lvl1pPr marL="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0985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6197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295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2393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492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8590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66893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47878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11464" hangingPunct="0">
              <a:lnSpc>
                <a:spcPct val="150000"/>
              </a:lnSpc>
              <a:spcAft>
                <a:spcPts val="600"/>
              </a:spcAft>
            </a:pPr>
            <a:r>
              <a:rPr lang="en-GB" sz="1242" b="1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ntologies </a:t>
            </a:r>
            <a:r>
              <a:rPr lang="en-GB" sz="1242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nd </a:t>
            </a:r>
            <a:r>
              <a:rPr lang="en-GB" sz="1242" b="1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Knowledge Graphs</a:t>
            </a:r>
            <a:r>
              <a:rPr lang="en-GB" sz="1242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702" kern="1200">
                <a:solidFill>
                  <a:schemeClr val="tx2"/>
                </a:solidFill>
                <a:latin typeface="+mn-lt"/>
                <a:ea typeface="+mn-ea"/>
                <a:cs typeface="+mn-cs"/>
              </a:rPr>
              <a:t>(Context, standardisation, structure, flexibility, machine-interoperability)</a:t>
            </a:r>
            <a:br>
              <a:rPr lang="en-GB" sz="1242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en-GB" sz="1242" b="1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chine Learning</a:t>
            </a:r>
            <a:r>
              <a:rPr lang="en-GB" sz="1242" b="1" kern="1200">
                <a:solidFill>
                  <a:srgbClr val="000000"/>
                </a:solidFill>
                <a:latin typeface="Arial"/>
                <a:ea typeface="+mn-ea"/>
                <a:cs typeface="Arial"/>
                <a:sym typeface="Arial"/>
              </a:rPr>
              <a:t> </a:t>
            </a:r>
            <a:endParaRPr lang="en-GB" sz="1260" b="1" kern="1200">
              <a:solidFill>
                <a:srgbClr val="000000"/>
              </a:solidFill>
              <a:latin typeface="Arial"/>
              <a:ea typeface="+mn-ea"/>
              <a:cs typeface="Arial"/>
              <a:sym typeface="Arial"/>
            </a:endParaRPr>
          </a:p>
          <a:p>
            <a:pPr defTabSz="411464" hangingPunct="0">
              <a:lnSpc>
                <a:spcPct val="150000"/>
              </a:lnSpc>
              <a:spcAft>
                <a:spcPts val="600"/>
              </a:spcAft>
            </a:pPr>
            <a:r>
              <a:rPr lang="en-GB" sz="702" kern="1200">
                <a:solidFill>
                  <a:schemeClr val="tx2"/>
                </a:solidFill>
                <a:latin typeface="Arial"/>
                <a:ea typeface="+mn-ea"/>
                <a:cs typeface="Arial"/>
                <a:sym typeface="Arial"/>
              </a:rPr>
              <a:t>(Automation, prediction, scalability)</a:t>
            </a:r>
            <a:endParaRPr lang="en-GB" sz="1300">
              <a:solidFill>
                <a:schemeClr val="tx2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3EE1144-ED97-F6EC-D204-8F8A7E0E576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578" t="10248"/>
          <a:stretch/>
        </p:blipFill>
        <p:spPr>
          <a:xfrm>
            <a:off x="6760305" y="2498153"/>
            <a:ext cx="2770124" cy="160428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1E0398F-4881-6C58-BA96-FE03580CA39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6555" y="1620179"/>
            <a:ext cx="1638126" cy="691504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7B050799-CB0E-5B27-F9DB-BB5AEEEF244A}"/>
              </a:ext>
            </a:extLst>
          </p:cNvPr>
          <p:cNvSpPr txBox="1"/>
          <p:nvPr/>
        </p:nvSpPr>
        <p:spPr>
          <a:xfrm rot="16200000">
            <a:off x="4234157" y="2422140"/>
            <a:ext cx="525848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0985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6197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295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2393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492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8590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66893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47878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11464">
              <a:spcAft>
                <a:spcPts val="600"/>
              </a:spcAft>
            </a:pPr>
            <a:r>
              <a:rPr lang="en-GB" sz="675" b="1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ack-end</a:t>
            </a:r>
            <a:endParaRPr lang="en-GB" sz="1250" b="1"/>
          </a:p>
        </p:txBody>
      </p:sp>
    </p:spTree>
    <p:extLst>
      <p:ext uri="{BB962C8B-B14F-4D97-AF65-F5344CB8AC3E}">
        <p14:creationId xmlns:p14="http://schemas.microsoft.com/office/powerpoint/2010/main" val="36249689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>
            <a:extLst>
              <a:ext uri="{FF2B5EF4-FFF2-40B4-BE49-F238E27FC236}">
                <a16:creationId xmlns:a16="http://schemas.microsoft.com/office/drawing/2014/main" id="{65030216-18FF-7CE8-E62D-90B0EED155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1548" y="1270620"/>
            <a:ext cx="6263718" cy="35233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F0EBC7C6-BAB4-9F2C-B48A-F51E1666B127}"/>
              </a:ext>
            </a:extLst>
          </p:cNvPr>
          <p:cNvSpPr txBox="1"/>
          <p:nvPr/>
        </p:nvSpPr>
        <p:spPr>
          <a:xfrm>
            <a:off x="6806595" y="2970957"/>
            <a:ext cx="3184071" cy="103874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8099" tIns="38099" rIns="38099" bIns="38099" numCol="1" spcCol="38100" rtlCol="0" anchor="t">
            <a:spAutoFit/>
          </a:bodyPr>
          <a:lstStyle>
            <a:defPPr>
              <a:defRPr lang="en-US"/>
            </a:defPPr>
            <a:lvl1pPr marL="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0985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6197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295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2393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492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8590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66893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47878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50" b="1" i="1">
                <a:effectLst/>
                <a:cs typeface="Arial" panose="020B0604020202020204" pitchFamily="34" charset="0"/>
              </a:rPr>
              <a:t>Definition 2: </a:t>
            </a:r>
            <a:r>
              <a:rPr lang="en-GB" sz="1250" i="1">
                <a:effectLst/>
                <a:cs typeface="Arial" panose="020B0604020202020204" pitchFamily="34" charset="0"/>
              </a:rPr>
              <a:t>“…very large </a:t>
            </a:r>
            <a:r>
              <a:rPr lang="en-GB" sz="1250" i="1" u="sng">
                <a:effectLst/>
                <a:cs typeface="Arial" panose="020B0604020202020204" pitchFamily="34" charset="0"/>
              </a:rPr>
              <a:t>semantic</a:t>
            </a:r>
            <a:r>
              <a:rPr lang="en-GB" sz="1250" i="1">
                <a:effectLst/>
                <a:cs typeface="Arial" panose="020B0604020202020204" pitchFamily="34" charset="0"/>
              </a:rPr>
              <a:t> nets that integrate various and heterogeneous information sources to represent knowledge about certain domains of discourse.”</a:t>
            </a:r>
            <a:r>
              <a:rPr lang="en-GB" sz="1250" i="1">
                <a:cs typeface="Arial" panose="020B0604020202020204" pitchFamily="34" charset="0"/>
              </a:rPr>
              <a:t> </a:t>
            </a:r>
          </a:p>
          <a:p>
            <a:r>
              <a:rPr lang="en-GB" sz="1250" i="1">
                <a:cs typeface="Arial" panose="020B0604020202020204" pitchFamily="34" charset="0"/>
              </a:rPr>
              <a:t>- </a:t>
            </a:r>
            <a:r>
              <a:rPr kumimoji="0" lang="en-GB" sz="1250" b="0" i="1" u="none" strike="noStrike" cap="none" spc="0" normalizeH="0" baseline="0" err="1">
                <a:ln>
                  <a:noFill/>
                </a:ln>
                <a:effectLst/>
                <a:uFillTx/>
                <a:cs typeface="Arial" panose="020B0604020202020204" pitchFamily="34" charset="0"/>
                <a:sym typeface="Arial"/>
              </a:rPr>
              <a:t>Fensel</a:t>
            </a:r>
            <a:r>
              <a:rPr lang="en-GB" sz="1250" i="1">
                <a:cs typeface="Arial" panose="020B0604020202020204" pitchFamily="34" charset="0"/>
                <a:sym typeface="Arial"/>
              </a:rPr>
              <a:t> [8]</a:t>
            </a:r>
            <a:endParaRPr kumimoji="0" lang="en-GB" sz="1250" b="0" i="1" u="none" strike="noStrike" cap="none" spc="0" normalizeH="0" baseline="0">
              <a:ln>
                <a:noFill/>
              </a:ln>
              <a:effectLst/>
              <a:uFillTx/>
              <a:cs typeface="Arial" panose="020B0604020202020204" pitchFamily="34" charset="0"/>
              <a:sym typeface="Arial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9602093-E708-AE3B-1B37-2ED10F5B0233}"/>
              </a:ext>
            </a:extLst>
          </p:cNvPr>
          <p:cNvSpPr txBox="1"/>
          <p:nvPr/>
        </p:nvSpPr>
        <p:spPr>
          <a:xfrm>
            <a:off x="6806594" y="865982"/>
            <a:ext cx="2999620" cy="103874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8099" tIns="38099" rIns="38099" bIns="38099" numCol="1" spcCol="38100" rtlCol="0" anchor="t">
            <a:spAutoFit/>
          </a:bodyPr>
          <a:lstStyle>
            <a:defPPr>
              <a:defRPr lang="en-US"/>
            </a:defPPr>
            <a:lvl1pPr marL="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0985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6197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295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2393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492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8590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66893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47878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l" defTabSz="76197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1250" b="1" i="1">
                <a:effectLst/>
                <a:cs typeface="Arial" panose="020B0604020202020204" pitchFamily="34" charset="0"/>
              </a:rPr>
              <a:t>Definition 1</a:t>
            </a:r>
            <a:r>
              <a:rPr lang="en-GB" sz="1250" b="0" i="1">
                <a:effectLst/>
                <a:cs typeface="Arial" panose="020B0604020202020204" pitchFamily="34" charset="0"/>
              </a:rPr>
              <a:t>: “A knowledge graph, also known as a </a:t>
            </a:r>
            <a:r>
              <a:rPr lang="en-GB" sz="1250" b="0" i="1" u="sng">
                <a:effectLst/>
                <a:cs typeface="Arial" panose="020B0604020202020204" pitchFamily="34" charset="0"/>
              </a:rPr>
              <a:t>semantic</a:t>
            </a:r>
            <a:r>
              <a:rPr lang="en-GB" sz="1250" b="0" i="1">
                <a:effectLst/>
                <a:cs typeface="Arial" panose="020B0604020202020204" pitchFamily="34" charset="0"/>
              </a:rPr>
              <a:t> network, represents a network of real-world entities…and illustrates the relationship between them”</a:t>
            </a:r>
            <a:r>
              <a:rPr lang="en-GB" sz="1250" b="0" i="1" baseline="30000">
                <a:effectLst/>
                <a:cs typeface="Arial" panose="020B0604020202020204" pitchFamily="34" charset="0"/>
              </a:rPr>
              <a:t>2 </a:t>
            </a:r>
          </a:p>
          <a:p>
            <a:pPr marL="0" marR="0" indent="0" algn="l" defTabSz="76197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1250" b="0" i="1">
                <a:effectLst/>
                <a:cs typeface="Arial" panose="020B0604020202020204" pitchFamily="34" charset="0"/>
              </a:rPr>
              <a:t>– IBM</a:t>
            </a:r>
            <a:endParaRPr kumimoji="0" lang="en-GB" sz="1250" b="0" i="1" u="none" strike="noStrike" cap="none" spc="0" normalizeH="0" baseline="0">
              <a:ln>
                <a:noFill/>
              </a:ln>
              <a:effectLst/>
              <a:uFillTx/>
              <a:cs typeface="Arial" panose="020B0604020202020204" pitchFamily="34" charset="0"/>
              <a:sym typeface="Arial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F565DB3-B5A8-327B-6CD2-9625DD23BCDD}"/>
              </a:ext>
            </a:extLst>
          </p:cNvPr>
          <p:cNvSpPr txBox="1"/>
          <p:nvPr/>
        </p:nvSpPr>
        <p:spPr>
          <a:xfrm>
            <a:off x="7216981" y="5308621"/>
            <a:ext cx="2359886" cy="20005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8099" tIns="38099" rIns="38099" bIns="38099" numCol="1" spcCol="38100" rtlCol="0" anchor="t">
            <a:spAutoFit/>
          </a:bodyPr>
          <a:lstStyle>
            <a:defPPr>
              <a:defRPr lang="en-US"/>
            </a:defPPr>
            <a:lvl1pPr marL="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0985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6197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295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2393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492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8590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66893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47878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hangingPunct="0"/>
            <a:r>
              <a:rPr kumimoji="0" lang="en-GB" sz="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rPr>
              <a:t>2. </a:t>
            </a:r>
            <a:r>
              <a:rPr kumimoji="0" lang="en-GB" sz="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  <a:hlinkClick r:id="rId3"/>
              </a:rPr>
              <a:t>https://www.ibm.com/topics/knowledge-graph</a:t>
            </a:r>
            <a:r>
              <a:rPr lang="en-GB" sz="80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 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A6C5367F-9F41-C7EE-4F0C-E451D4944514}"/>
              </a:ext>
            </a:extLst>
          </p:cNvPr>
          <p:cNvSpPr/>
          <p:nvPr/>
        </p:nvSpPr>
        <p:spPr>
          <a:xfrm rot="1155380">
            <a:off x="1039909" y="2195114"/>
            <a:ext cx="2653109" cy="1328568"/>
          </a:xfrm>
          <a:prstGeom prst="ellipse">
            <a:avLst/>
          </a:prstGeom>
          <a:noFill/>
          <a:ln w="3810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ot="0" spcFirstLastPara="1" vertOverflow="overflow" horzOverflow="overflow" vert="horz" wrap="square" lIns="38099" tIns="38099" rIns="38099" bIns="38099" numCol="1" spcCol="38100" rtlCol="0" anchor="ctr">
            <a:spAutoFit/>
          </a:bodyPr>
          <a:lstStyle>
            <a:defPPr>
              <a:defRPr lang="en-US"/>
            </a:defPPr>
            <a:lvl1pPr marL="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0985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6197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295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2393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492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8590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66893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47878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l" defTabSz="76197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5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2D13142-FA74-B1F6-A3F3-3DE61574D473}"/>
              </a:ext>
            </a:extLst>
          </p:cNvPr>
          <p:cNvSpPr txBox="1"/>
          <p:nvPr/>
        </p:nvSpPr>
        <p:spPr>
          <a:xfrm>
            <a:off x="2510203" y="204158"/>
            <a:ext cx="3675418" cy="30777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8099" tIns="38099" rIns="38099" bIns="38099" numCol="1" spcCol="38100" rtlCol="0" anchor="t">
            <a:spAutoFit/>
          </a:bodyPr>
          <a:lstStyle>
            <a:defPPr>
              <a:defRPr lang="en-US"/>
            </a:defPPr>
            <a:lvl1pPr marL="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0985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6197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295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2393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492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8590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66893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47878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l" defTabSz="76197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GB" sz="15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ea typeface="Arial"/>
                <a:cs typeface="Arial"/>
                <a:sym typeface="Arial"/>
              </a:rPr>
              <a:t>Resource Description Framework (RDF) Trip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4C423A7-A736-C7ED-B53F-027B0AB62E4B}"/>
              </a:ext>
            </a:extLst>
          </p:cNvPr>
          <p:cNvSpPr txBox="1"/>
          <p:nvPr/>
        </p:nvSpPr>
        <p:spPr>
          <a:xfrm>
            <a:off x="2913136" y="558208"/>
            <a:ext cx="2663121" cy="30777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8099" tIns="38099" rIns="38099" bIns="38099" numCol="1" spcCol="38100" rtlCol="0" anchor="t">
            <a:spAutoFit/>
          </a:bodyPr>
          <a:lstStyle>
            <a:defPPr>
              <a:defRPr lang="en-US"/>
            </a:defPPr>
            <a:lvl1pPr marL="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0985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6197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295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2393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492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8590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66893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47878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kumimoji="0" lang="en-GB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rPr>
              <a:t>&lt;subject&gt;&lt;predicate&gt;&lt;object&gt;</a:t>
            </a:r>
          </a:p>
        </p:txBody>
      </p:sp>
      <p:cxnSp>
        <p:nvCxnSpPr>
          <p:cNvPr id="13" name="Curved Connector 12">
            <a:extLst>
              <a:ext uri="{FF2B5EF4-FFF2-40B4-BE49-F238E27FC236}">
                <a16:creationId xmlns:a16="http://schemas.microsoft.com/office/drawing/2014/main" id="{1C9D77DE-59B7-5BF9-A637-B37853229AF1}"/>
              </a:ext>
            </a:extLst>
          </p:cNvPr>
          <p:cNvCxnSpPr>
            <a:cxnSpLocks/>
            <a:stCxn id="12" idx="1"/>
            <a:endCxn id="10" idx="1"/>
          </p:cNvCxnSpPr>
          <p:nvPr/>
        </p:nvCxnSpPr>
        <p:spPr>
          <a:xfrm rot="10800000" flipV="1">
            <a:off x="1635839" y="712095"/>
            <a:ext cx="1277298" cy="1394509"/>
          </a:xfrm>
          <a:prstGeom prst="curvedConnector2">
            <a:avLst/>
          </a:prstGeom>
          <a:noFill/>
          <a:ln w="38100" cap="flat">
            <a:solidFill>
              <a:schemeClr val="accent3"/>
            </a:solidFill>
            <a:prstDash val="solid"/>
            <a:miter lim="8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17A741C8-2005-D471-BCE4-9131154A9E2F}"/>
              </a:ext>
            </a:extLst>
          </p:cNvPr>
          <p:cNvSpPr txBox="1"/>
          <p:nvPr/>
        </p:nvSpPr>
        <p:spPr>
          <a:xfrm>
            <a:off x="2201703" y="5156793"/>
            <a:ext cx="4351617" cy="30777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8099" tIns="38099" rIns="38099" bIns="38099" numCol="1" spcCol="38100" rtlCol="0" anchor="t">
            <a:spAutoFit/>
          </a:bodyPr>
          <a:lstStyle>
            <a:defPPr>
              <a:defRPr lang="en-US"/>
            </a:defPPr>
            <a:lvl1pPr marL="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0985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6197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295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2393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492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8590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66893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47878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l" defTabSz="76197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GB" sz="15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rPr>
              <a:t>What is an ontology? What is a knowledge graph?</a:t>
            </a:r>
          </a:p>
        </p:txBody>
      </p:sp>
    </p:spTree>
    <p:extLst>
      <p:ext uri="{BB962C8B-B14F-4D97-AF65-F5344CB8AC3E}">
        <p14:creationId xmlns:p14="http://schemas.microsoft.com/office/powerpoint/2010/main" val="21405057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/>
      <p:bldP spid="12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">
            <a:extLst>
              <a:ext uri="{FF2B5EF4-FFF2-40B4-BE49-F238E27FC236}">
                <a16:creationId xmlns:a16="http://schemas.microsoft.com/office/drawing/2014/main" id="{861BA8C1-E450-E87E-88A9-162CB7E3229A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227013"/>
            <a:ext cx="7797800" cy="1035050"/>
          </a:xfrm>
        </p:spPr>
        <p:txBody>
          <a:bodyPr>
            <a:normAutofit/>
          </a:bodyPr>
          <a:lstStyle>
            <a:defPPr>
              <a:defRPr lang="en-US"/>
            </a:defPPr>
            <a:lvl1pPr marL="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0985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6197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295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2393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492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8590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66893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47878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800" b="1">
                <a:latin typeface="Arial Bold"/>
                <a:cs typeface="Arial Bold"/>
              </a:rPr>
              <a:t>Building FAIR DPPs of ICT with Ontologies and Knowledge Graphs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91C3DC6F-0FF4-861E-A0A6-ADA4324F13EA}"/>
              </a:ext>
            </a:extLst>
          </p:cNvPr>
          <p:cNvSpPr txBox="1">
            <a:spLocks/>
          </p:cNvSpPr>
          <p:nvPr/>
        </p:nvSpPr>
        <p:spPr>
          <a:xfrm>
            <a:off x="9408154" y="5205109"/>
            <a:ext cx="151847" cy="14401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0985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6197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295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2393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492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8590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66893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47878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25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457138D-222F-9A94-CB74-94C99C8D9957}"/>
              </a:ext>
            </a:extLst>
          </p:cNvPr>
          <p:cNvSpPr/>
          <p:nvPr/>
        </p:nvSpPr>
        <p:spPr>
          <a:xfrm>
            <a:off x="4881957" y="1820412"/>
            <a:ext cx="1350988" cy="754602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en-US"/>
            </a:defPPr>
            <a:lvl1pPr marL="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0985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6197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295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2393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492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8590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66893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47878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250">
                <a:latin typeface="Arial" panose="020B0604020202020204" pitchFamily="34" charset="0"/>
                <a:cs typeface="Arial" panose="020B0604020202020204" pitchFamily="34" charset="0"/>
              </a:rPr>
              <a:t>Materials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FC3F8F2A-FE80-7CF1-F385-3E0A6094D94A}"/>
              </a:ext>
            </a:extLst>
          </p:cNvPr>
          <p:cNvSpPr/>
          <p:nvPr/>
        </p:nvSpPr>
        <p:spPr>
          <a:xfrm>
            <a:off x="7989670" y="2259368"/>
            <a:ext cx="1494408" cy="1400083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en-US"/>
            </a:defPPr>
            <a:lvl1pPr marL="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0985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6197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295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2393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492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8590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66893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47878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250">
                <a:latin typeface="Arial" panose="020B0604020202020204" pitchFamily="34" charset="0"/>
                <a:cs typeface="Arial" panose="020B0604020202020204" pitchFamily="34" charset="0"/>
              </a:rPr>
              <a:t>Circular Economy Strategies</a:t>
            </a:r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1D0720A8-5439-9C29-39B2-368A94475FA7}"/>
              </a:ext>
            </a:extLst>
          </p:cNvPr>
          <p:cNvSpPr/>
          <p:nvPr/>
        </p:nvSpPr>
        <p:spPr>
          <a:xfrm>
            <a:off x="5557451" y="3368844"/>
            <a:ext cx="1102310" cy="983941"/>
          </a:xfrm>
          <a:prstGeom prst="roundRect">
            <a:avLst>
              <a:gd name="adj" fmla="val 24186"/>
            </a:avLst>
          </a:prstGeom>
          <a:ln>
            <a:headEnd type="none" w="med" len="med"/>
            <a:tailEnd type="none" w="med" len="med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en-US"/>
            </a:defPPr>
            <a:lvl1pPr marL="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0985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6197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295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2393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492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8590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66893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47878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250">
                <a:latin typeface="Arial" panose="020B0604020202020204" pitchFamily="34" charset="0"/>
                <a:cs typeface="Arial" panose="020B0604020202020204" pitchFamily="34" charset="0"/>
              </a:rPr>
              <a:t>ICT 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D53B452-0AC5-6E7E-8D17-18BCAA6F9D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11019" y="2197714"/>
            <a:ext cx="1729405" cy="1141408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B703F7AE-E9C2-A72D-CAB6-1E5F38CA8604}"/>
              </a:ext>
            </a:extLst>
          </p:cNvPr>
          <p:cNvSpPr txBox="1"/>
          <p:nvPr/>
        </p:nvSpPr>
        <p:spPr>
          <a:xfrm>
            <a:off x="431251" y="1306954"/>
            <a:ext cx="3879081" cy="406694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 lIns="91440" tIns="45720" rIns="91440" bIns="45720" anchor="t">
            <a:spAutoFit/>
          </a:bodyPr>
          <a:lstStyle>
            <a:defPPr>
              <a:defRPr lang="en-US"/>
            </a:defPPr>
            <a:lvl1pPr marL="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0985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6197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295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2393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492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8590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66893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47878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en-GB" sz="1300" b="1">
                <a:cs typeface="Arial"/>
              </a:rPr>
              <a:t>Main Goal(s): </a:t>
            </a:r>
            <a:endParaRPr lang="en-US"/>
          </a:p>
          <a:p>
            <a:pPr marL="237490" indent="-23749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1300">
                <a:cs typeface="Arial"/>
              </a:rPr>
              <a:t>Interconnect the ICT, materials and circular economy domains </a:t>
            </a:r>
            <a:endParaRPr lang="en-GB" sz="1300">
              <a:cs typeface="Arial" panose="020B0604020202020204" pitchFamily="34" charset="0"/>
            </a:endParaRPr>
          </a:p>
          <a:p>
            <a:pPr marL="237490" indent="-23749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1300">
                <a:cs typeface="Arial"/>
              </a:rPr>
              <a:t>Build FAIR DPPs</a:t>
            </a:r>
          </a:p>
          <a:p>
            <a:pPr>
              <a:lnSpc>
                <a:spcPct val="150000"/>
              </a:lnSpc>
            </a:pPr>
            <a:endParaRPr lang="en-GB" sz="1333">
              <a:solidFill>
                <a:schemeClr val="tx1"/>
              </a:solidFill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en-GB" sz="1300" b="1">
                <a:cs typeface="Arial"/>
              </a:rPr>
              <a:t>Why?</a:t>
            </a:r>
          </a:p>
          <a:p>
            <a:pPr marL="237490" indent="-23749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1300">
                <a:cs typeface="Arial"/>
              </a:rPr>
              <a:t>Derive knowledge from the data</a:t>
            </a:r>
          </a:p>
          <a:p>
            <a:pPr marL="237490" indent="-23749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1300">
                <a:cs typeface="Arial"/>
              </a:rPr>
              <a:t>Understand data dependencies</a:t>
            </a:r>
          </a:p>
          <a:p>
            <a:pPr marL="237490" indent="-23749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1300">
                <a:cs typeface="Arial"/>
              </a:rPr>
              <a:t>Support data traceability and process transparency throughout a device ’s lifetime</a:t>
            </a:r>
          </a:p>
          <a:p>
            <a:pPr marL="237490" indent="-23749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1300">
                <a:cs typeface="Arial"/>
              </a:rPr>
              <a:t>Support both human (e.g. procurement) and machine-driven decision - making (e.g. predictive maintenance)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500659B-C649-54FE-E4F3-6F053E10631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8469" y="3974388"/>
            <a:ext cx="3009530" cy="1270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687254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3E7CB55-6778-0D48-989A-C6D79AFDC90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79721" y="0"/>
            <a:ext cx="4189993" cy="5715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8454F81B-D921-8950-9B1B-9F24B8182E6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8500" y="644097"/>
            <a:ext cx="4748727" cy="378274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23835A4-CB38-D786-D88C-F5A9D5C4611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82537" y="4710590"/>
            <a:ext cx="720625" cy="72062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B407EEE5-0D9B-B8F0-7432-BF8D7A53E6E4}"/>
              </a:ext>
            </a:extLst>
          </p:cNvPr>
          <p:cNvSpPr txBox="1"/>
          <p:nvPr/>
        </p:nvSpPr>
        <p:spPr>
          <a:xfrm>
            <a:off x="3223174" y="4977960"/>
            <a:ext cx="1289348" cy="2846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0985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6197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295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2393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492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8590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66893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47878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50"/>
              <a:t>To the paper-&gt;</a:t>
            </a:r>
          </a:p>
        </p:txBody>
      </p:sp>
    </p:spTree>
    <p:extLst>
      <p:ext uri="{BB962C8B-B14F-4D97-AF65-F5344CB8AC3E}">
        <p14:creationId xmlns:p14="http://schemas.microsoft.com/office/powerpoint/2010/main" val="170252847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">
            <a:extLst>
              <a:ext uri="{FF2B5EF4-FFF2-40B4-BE49-F238E27FC236}">
                <a16:creationId xmlns:a16="http://schemas.microsoft.com/office/drawing/2014/main" id="{A054989B-607D-CC10-E2B9-F0EF4B7BBE53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152400"/>
            <a:ext cx="6804025" cy="850900"/>
          </a:xfrm>
        </p:spPr>
        <p:txBody>
          <a:bodyPr>
            <a:noAutofit/>
          </a:bodyPr>
          <a:lstStyle>
            <a:defPPr>
              <a:defRPr lang="en-US"/>
            </a:defPPr>
            <a:lvl1pPr marL="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0985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6197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295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2393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492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8590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66893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47878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800" b="1">
                <a:latin typeface="Arial Bold"/>
                <a:cs typeface="Arial Bold"/>
              </a:rPr>
              <a:t>The </a:t>
            </a:r>
            <a:r>
              <a:rPr lang="en-GB" sz="2800" b="1" err="1">
                <a:latin typeface="Arial Bold"/>
                <a:cs typeface="Arial Bold"/>
              </a:rPr>
              <a:t>RePlanIT</a:t>
            </a:r>
            <a:r>
              <a:rPr lang="en-GB" sz="2800" b="1">
                <a:latin typeface="Arial Bold"/>
                <a:cs typeface="Arial Bold"/>
              </a:rPr>
              <a:t> Ontology for ICT DPPs: Laptops and Data Servers</a:t>
            </a:r>
            <a:endParaRPr lang="en-GB" sz="2800">
              <a:latin typeface="Arial Bold"/>
              <a:cs typeface="Arial Bold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DDBB128-F196-58A3-1232-4DD25B21642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82135" y="488293"/>
            <a:ext cx="2203171" cy="473841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8DAC91C-F9ED-8DEB-72B7-AD4562A88E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87063" y="253608"/>
            <a:ext cx="1772234" cy="341255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C5AE52B-C318-269F-6499-C17E939C5DC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598689" y="3846027"/>
            <a:ext cx="1460608" cy="9804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81B7190-A4CB-15D3-7DF9-E31DFB01FEEB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36" r="2053"/>
          <a:stretch/>
        </p:blipFill>
        <p:spPr>
          <a:xfrm>
            <a:off x="56399" y="1022321"/>
            <a:ext cx="7168269" cy="3412553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606605FD-407F-7FD7-A7E0-95739F44A223}"/>
              </a:ext>
            </a:extLst>
          </p:cNvPr>
          <p:cNvSpPr txBox="1"/>
          <p:nvPr/>
        </p:nvSpPr>
        <p:spPr>
          <a:xfrm>
            <a:off x="1073909" y="4560840"/>
            <a:ext cx="5687114" cy="115416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8099" tIns="38099" rIns="38099" bIns="38099" numCol="1" spcCol="38100" rtlCol="0" anchor="t">
            <a:spAutoFit/>
          </a:bodyPr>
          <a:lstStyle>
            <a:defPPr>
              <a:defRPr lang="en-US"/>
            </a:defPPr>
            <a:lvl1pPr marL="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0985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6197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295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2393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492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8590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66893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47878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000">
                <a:effectLst/>
                <a:cs typeface="Arial" panose="020B0604020202020204" pitchFamily="34" charset="0"/>
              </a:rPr>
              <a:t>Focus on </a:t>
            </a:r>
            <a:r>
              <a:rPr lang="en-GB" sz="1000" i="1">
                <a:solidFill>
                  <a:schemeClr val="accent1"/>
                </a:solidFill>
                <a:effectLst/>
                <a:cs typeface="Arial" panose="020B0604020202020204" pitchFamily="34" charset="0"/>
              </a:rPr>
              <a:t>Laptops</a:t>
            </a:r>
            <a:r>
              <a:rPr lang="en-GB" sz="1000">
                <a:effectLst/>
                <a:cs typeface="Arial" panose="020B0604020202020204" pitchFamily="34" charset="0"/>
              </a:rPr>
              <a:t> and </a:t>
            </a:r>
            <a:r>
              <a:rPr lang="en-GB" sz="1000" i="1">
                <a:solidFill>
                  <a:schemeClr val="accent1"/>
                </a:solidFill>
                <a:effectLst/>
                <a:cs typeface="Arial" panose="020B0604020202020204" pitchFamily="34" charset="0"/>
              </a:rPr>
              <a:t>Data Servers </a:t>
            </a:r>
          </a:p>
          <a:p>
            <a:pPr algn="ctr"/>
            <a:endParaRPr lang="en-GB" sz="1000">
              <a:effectLst/>
              <a:cs typeface="Arial" panose="020B0604020202020204" pitchFamily="34" charset="0"/>
            </a:endParaRPr>
          </a:p>
          <a:p>
            <a:pPr algn="ctr"/>
            <a:r>
              <a:rPr lang="en-GB" sz="1000">
                <a:effectLst/>
                <a:cs typeface="Arial" panose="020B0604020202020204" pitchFamily="34" charset="0"/>
              </a:rPr>
              <a:t>295 classes, 72 object properties and 143 data properties</a:t>
            </a:r>
          </a:p>
          <a:p>
            <a:pPr algn="ctr"/>
            <a:r>
              <a:rPr lang="en-GB" sz="1000">
                <a:effectLst/>
                <a:cs typeface="Arial" panose="020B0604020202020204" pitchFamily="34" charset="0"/>
              </a:rPr>
              <a:t>reuses concepts from 15 existing ontologies and defines new</a:t>
            </a:r>
          </a:p>
          <a:p>
            <a:pPr algn="ctr"/>
            <a:endParaRPr lang="en-GB" sz="1000">
              <a:cs typeface="Arial" panose="020B0604020202020204" pitchFamily="34" charset="0"/>
            </a:endParaRPr>
          </a:p>
          <a:p>
            <a:pPr algn="ctr"/>
            <a:r>
              <a:rPr lang="en-GB" sz="1000">
                <a:cs typeface="Arial" panose="020B0604020202020204" pitchFamily="34" charset="0"/>
              </a:rPr>
              <a:t>Available at </a:t>
            </a:r>
            <a:r>
              <a:rPr lang="en-GB" sz="1000">
                <a:effectLst/>
                <a:cs typeface="Arial" panose="020B0604020202020204" pitchFamily="34" charset="0"/>
                <a:hlinkClick r:id="rId6"/>
              </a:rPr>
              <a:t>https://kind.io.tudelft.nl/replanit/docs/</a:t>
            </a:r>
            <a:r>
              <a:rPr lang="en-GB" sz="1000">
                <a:effectLst/>
                <a:cs typeface="Arial" panose="020B0604020202020204" pitchFamily="34" charset="0"/>
              </a:rPr>
              <a:t> </a:t>
            </a:r>
            <a:endParaRPr lang="en-GB" sz="1000">
              <a:cs typeface="Arial" panose="020B0604020202020204" pitchFamily="34" charset="0"/>
            </a:endParaRPr>
          </a:p>
          <a:p>
            <a:pPr marL="0" marR="0" indent="0" algn="ctr" defTabSz="76197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cs typeface="Arial" panose="020B0604020202020204" pitchFamily="34" charset="0"/>
              <a:sym typeface="Arial"/>
            </a:endParaRPr>
          </a:p>
        </p:txBody>
      </p:sp>
      <p:sp>
        <p:nvSpPr>
          <p:cNvPr id="12" name="Slide Number Placeholder 1">
            <a:extLst>
              <a:ext uri="{FF2B5EF4-FFF2-40B4-BE49-F238E27FC236}">
                <a16:creationId xmlns:a16="http://schemas.microsoft.com/office/drawing/2014/main" id="{1A59E177-65EA-AC99-EB99-9DAF6FB5EC97}"/>
              </a:ext>
            </a:extLst>
          </p:cNvPr>
          <p:cNvSpPr txBox="1">
            <a:spLocks/>
          </p:cNvSpPr>
          <p:nvPr/>
        </p:nvSpPr>
        <p:spPr>
          <a:xfrm>
            <a:off x="9408154" y="5205109"/>
            <a:ext cx="151847" cy="14401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0985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6197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295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2393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492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8590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66893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47878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250"/>
          </a:p>
        </p:txBody>
      </p:sp>
    </p:spTree>
    <p:extLst>
      <p:ext uri="{BB962C8B-B14F-4D97-AF65-F5344CB8AC3E}">
        <p14:creationId xmlns:p14="http://schemas.microsoft.com/office/powerpoint/2010/main" val="381956069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ACDB9960-786A-7553-E7EB-FC4BBF343E30}"/>
              </a:ext>
            </a:extLst>
          </p:cNvPr>
          <p:cNvSpPr txBox="1">
            <a:spLocks/>
          </p:cNvSpPr>
          <p:nvPr/>
        </p:nvSpPr>
        <p:spPr>
          <a:xfrm>
            <a:off x="9408154" y="5205109"/>
            <a:ext cx="151847" cy="14401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0985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6197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295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2393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492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8590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66893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47878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25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326E3C1-8B6D-7073-67C7-41B65F02738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0111351" cy="4402667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1DE00A2-3109-C271-B438-203D40632397}"/>
              </a:ext>
            </a:extLst>
          </p:cNvPr>
          <p:cNvSpPr txBox="1"/>
          <p:nvPr/>
        </p:nvSpPr>
        <p:spPr>
          <a:xfrm>
            <a:off x="2181534" y="4432387"/>
            <a:ext cx="7302544" cy="25647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8099" tIns="38099" rIns="38099" bIns="38099" numCol="1" spcCol="38100" rtlCol="0" anchor="t">
            <a:spAutoFit/>
          </a:bodyPr>
          <a:lstStyle>
            <a:defPPr>
              <a:defRPr lang="en-US"/>
            </a:defPPr>
            <a:lvl1pPr marL="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0985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6197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295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2393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492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8590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66893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47878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76197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GB" sz="1167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ea typeface="Arial"/>
                <a:cs typeface="Arial"/>
                <a:sym typeface="Arial"/>
              </a:rPr>
              <a:t>ICT Device and Hardware Components (Data </a:t>
            </a:r>
            <a:r>
              <a:rPr lang="en-GB" sz="1167"/>
              <a:t>P</a:t>
            </a:r>
            <a:r>
              <a:rPr kumimoji="0" lang="en-GB" sz="1167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ea typeface="Arial"/>
                <a:cs typeface="Arial"/>
                <a:sym typeface="Arial"/>
              </a:rPr>
              <a:t>roperties in Grey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DA9B9A2-18BE-C512-B1A7-4A13EFBE67E8}"/>
              </a:ext>
            </a:extLst>
          </p:cNvPr>
          <p:cNvSpPr txBox="1"/>
          <p:nvPr/>
        </p:nvSpPr>
        <p:spPr>
          <a:xfrm>
            <a:off x="1866370" y="4721399"/>
            <a:ext cx="743948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0985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6197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295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2393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492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8590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66893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47878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kumimoji="0" lang="en-GB" sz="1000" b="0" i="1" u="none" strike="noStrike" cap="none" spc="0" normalizeH="0" baseline="0" err="1">
                <a:ln>
                  <a:noFill/>
                </a:ln>
                <a:solidFill>
                  <a:srgbClr val="000000"/>
                </a:solidFill>
                <a:effectLst/>
                <a:uFillTx/>
                <a:ea typeface="Arial"/>
                <a:cs typeface="Arial"/>
                <a:sym typeface="Arial"/>
              </a:rPr>
              <a:t>Kurteva</a:t>
            </a:r>
            <a:r>
              <a:rPr kumimoji="0" lang="en-GB" sz="1000" b="0" i="1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ea typeface="Arial"/>
                <a:cs typeface="Arial"/>
                <a:sym typeface="Arial"/>
              </a:rPr>
              <a:t> et al. (2024), </a:t>
            </a:r>
            <a:r>
              <a:rPr kumimoji="0" lang="en-GB" sz="1000" b="0" i="1" u="none" strike="noStrike" cap="none" spc="0" normalizeH="0" baseline="0" err="1">
                <a:ln>
                  <a:noFill/>
                </a:ln>
                <a:solidFill>
                  <a:srgbClr val="000000"/>
                </a:solidFill>
                <a:effectLst/>
                <a:uFillTx/>
                <a:ea typeface="Arial"/>
                <a:cs typeface="Arial"/>
                <a:sym typeface="Arial"/>
              </a:rPr>
              <a:t>RePlanIT</a:t>
            </a:r>
            <a:r>
              <a:rPr kumimoji="0" lang="en-GB" sz="1000" b="0" i="1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ea typeface="Arial"/>
                <a:cs typeface="Arial"/>
                <a:sym typeface="Arial"/>
              </a:rPr>
              <a:t> Ontology for FAIT Digital Product Passport of ICT: Laptops and Data Servers, Semantic Web journal (in Review)</a:t>
            </a:r>
          </a:p>
          <a:p>
            <a:endParaRPr lang="en-GB" sz="1000" i="1"/>
          </a:p>
        </p:txBody>
      </p:sp>
    </p:spTree>
    <p:extLst>
      <p:ext uri="{BB962C8B-B14F-4D97-AF65-F5344CB8AC3E}">
        <p14:creationId xmlns:p14="http://schemas.microsoft.com/office/powerpoint/2010/main" val="231667885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C0285E22-B4EC-8483-A09A-07DA7236C6BF}"/>
              </a:ext>
            </a:extLst>
          </p:cNvPr>
          <p:cNvSpPr txBox="1">
            <a:spLocks/>
          </p:cNvSpPr>
          <p:nvPr/>
        </p:nvSpPr>
        <p:spPr>
          <a:xfrm>
            <a:off x="9408154" y="5205109"/>
            <a:ext cx="151847" cy="14401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0985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6197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295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2393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492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8590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66893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47878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25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7376DC7-1EBF-82F7-DF6D-A66B924EEFB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0060283" cy="4394043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DE5EC794-1506-4EE0-9042-C3CD3BEAE487}"/>
              </a:ext>
            </a:extLst>
          </p:cNvPr>
          <p:cNvSpPr txBox="1"/>
          <p:nvPr/>
        </p:nvSpPr>
        <p:spPr>
          <a:xfrm>
            <a:off x="3343571" y="4445276"/>
            <a:ext cx="3114633" cy="25647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8099" tIns="38099" rIns="38099" bIns="38099" numCol="1" spcCol="38100" rtlCol="0" anchor="t">
            <a:spAutoFit/>
          </a:bodyPr>
          <a:lstStyle>
            <a:defPPr>
              <a:defRPr lang="en-US"/>
            </a:defPPr>
            <a:lvl1pPr marL="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0985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6197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295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2393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492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8590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66893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47878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l" defTabSz="76197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GB" sz="1167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ea typeface="Arial"/>
                <a:cs typeface="Arial"/>
                <a:sym typeface="Arial"/>
              </a:rPr>
              <a:t>ICT Device and Materials (Data </a:t>
            </a:r>
            <a:r>
              <a:rPr lang="en-GB" sz="1167"/>
              <a:t>P</a:t>
            </a:r>
            <a:r>
              <a:rPr kumimoji="0" lang="en-GB" sz="1167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ea typeface="Arial"/>
                <a:cs typeface="Arial"/>
                <a:sym typeface="Arial"/>
              </a:rPr>
              <a:t>roperties in Grey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2D7F26B-97B8-350A-0166-46DFA410AC0E}"/>
              </a:ext>
            </a:extLst>
          </p:cNvPr>
          <p:cNvSpPr txBox="1"/>
          <p:nvPr/>
        </p:nvSpPr>
        <p:spPr>
          <a:xfrm>
            <a:off x="1308036" y="4773097"/>
            <a:ext cx="742361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0985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6197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295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2393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492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8590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66893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47878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kumimoji="0" lang="en-GB" sz="1000" b="0" i="1" u="none" strike="noStrike" cap="none" spc="0" normalizeH="0" baseline="0" err="1">
                <a:ln>
                  <a:noFill/>
                </a:ln>
                <a:solidFill>
                  <a:srgbClr val="000000"/>
                </a:solidFill>
                <a:effectLst/>
                <a:uFillTx/>
                <a:ea typeface="Arial"/>
                <a:cs typeface="Arial"/>
                <a:sym typeface="Arial"/>
              </a:rPr>
              <a:t>Kurteva</a:t>
            </a:r>
            <a:r>
              <a:rPr kumimoji="0" lang="en-GB" sz="1000" b="0" i="1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ea typeface="Arial"/>
                <a:cs typeface="Arial"/>
                <a:sym typeface="Arial"/>
              </a:rPr>
              <a:t> et al. (2024), </a:t>
            </a:r>
            <a:r>
              <a:rPr kumimoji="0" lang="en-GB" sz="1000" b="0" i="1" u="none" strike="noStrike" cap="none" spc="0" normalizeH="0" baseline="0" err="1">
                <a:ln>
                  <a:noFill/>
                </a:ln>
                <a:solidFill>
                  <a:srgbClr val="000000"/>
                </a:solidFill>
                <a:effectLst/>
                <a:uFillTx/>
                <a:ea typeface="Arial"/>
                <a:cs typeface="Arial"/>
                <a:sym typeface="Arial"/>
              </a:rPr>
              <a:t>RePlanIT</a:t>
            </a:r>
            <a:r>
              <a:rPr kumimoji="0" lang="en-GB" sz="1000" b="0" i="1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ea typeface="Arial"/>
                <a:cs typeface="Arial"/>
                <a:sym typeface="Arial"/>
              </a:rPr>
              <a:t> Ontology for FAIT Digital Product Passport of ICT: Laptops and Data Servers, Semantic Web journal (in Review)</a:t>
            </a:r>
          </a:p>
          <a:p>
            <a:endParaRPr lang="en-GB" sz="1000" i="1"/>
          </a:p>
        </p:txBody>
      </p:sp>
    </p:spTree>
    <p:extLst>
      <p:ext uri="{BB962C8B-B14F-4D97-AF65-F5344CB8AC3E}">
        <p14:creationId xmlns:p14="http://schemas.microsoft.com/office/powerpoint/2010/main" val="192468732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A23226-7034-E331-88E3-4EDB5CDC96ED}"/>
              </a:ext>
            </a:extLst>
          </p:cNvPr>
          <p:cNvSpPr txBox="1">
            <a:spLocks/>
          </p:cNvSpPr>
          <p:nvPr/>
        </p:nvSpPr>
        <p:spPr>
          <a:xfrm>
            <a:off x="9408154" y="5205109"/>
            <a:ext cx="151847" cy="14401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0985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6197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295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2393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492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8590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66893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47878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25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9CEE24B-B7F2-069A-9B2A-F18E82E840D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80" b="20427"/>
          <a:stretch/>
        </p:blipFill>
        <p:spPr>
          <a:xfrm>
            <a:off x="3136880" y="2926726"/>
            <a:ext cx="6959257" cy="2448383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E290E69-04E5-C144-740C-7FDE1FA070E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682" t="3946" r="8096" b="16029"/>
          <a:stretch/>
        </p:blipFill>
        <p:spPr>
          <a:xfrm>
            <a:off x="0" y="0"/>
            <a:ext cx="6220008" cy="323407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0439D6C-A22B-FDC8-0E6A-D57D8983E406}"/>
              </a:ext>
            </a:extLst>
          </p:cNvPr>
          <p:cNvSpPr txBox="1"/>
          <p:nvPr/>
        </p:nvSpPr>
        <p:spPr>
          <a:xfrm>
            <a:off x="228769" y="136011"/>
            <a:ext cx="965451" cy="25654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8099" tIns="38099" rIns="38099" bIns="38099" numCol="1" spcCol="38100" rtlCol="0" anchor="t">
            <a:spAutoFit/>
          </a:bodyPr>
          <a:lstStyle>
            <a:defPPr>
              <a:defRPr lang="en-US"/>
            </a:defPPr>
            <a:lvl1pPr marL="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0985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6197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295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2393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492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8590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66893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47878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l" defTabSz="76197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GB" sz="1167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ea typeface="Arial"/>
                <a:cs typeface="Arial"/>
                <a:sym typeface="Arial"/>
              </a:rPr>
              <a:t>Indicator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A95EAC9-DEB0-C632-4FBD-BD8A0018B46B}"/>
              </a:ext>
            </a:extLst>
          </p:cNvPr>
          <p:cNvSpPr txBox="1"/>
          <p:nvPr/>
        </p:nvSpPr>
        <p:spPr>
          <a:xfrm>
            <a:off x="6998500" y="5279134"/>
            <a:ext cx="2888396" cy="25647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8099" tIns="38099" rIns="38099" bIns="38099" numCol="1" spcCol="38100" rtlCol="0" anchor="t">
            <a:spAutoFit/>
          </a:bodyPr>
          <a:lstStyle>
            <a:defPPr>
              <a:defRPr lang="en-US"/>
            </a:defPPr>
            <a:lvl1pPr marL="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0985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6197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295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2393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492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8590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66893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47878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l" defTabSz="76197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GB" sz="1167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ea typeface="Arial"/>
                <a:cs typeface="Arial"/>
                <a:sym typeface="Arial"/>
              </a:rPr>
              <a:t>Activities and Agents (Data </a:t>
            </a:r>
            <a:r>
              <a:rPr lang="en-GB" sz="1167"/>
              <a:t>P</a:t>
            </a:r>
            <a:r>
              <a:rPr kumimoji="0" lang="en-GB" sz="1167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ea typeface="Arial"/>
                <a:cs typeface="Arial"/>
                <a:sym typeface="Arial"/>
              </a:rPr>
              <a:t>roperties in Grey)</a:t>
            </a:r>
          </a:p>
        </p:txBody>
      </p:sp>
    </p:spTree>
    <p:extLst>
      <p:ext uri="{BB962C8B-B14F-4D97-AF65-F5344CB8AC3E}">
        <p14:creationId xmlns:p14="http://schemas.microsoft.com/office/powerpoint/2010/main" val="297377195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3D38976D-0C87-999F-9530-CA9DDFA519F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943" y="79475"/>
            <a:ext cx="5957370" cy="472481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ACCD40E-3CDD-56FD-AD2C-5D5BA43C07C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6558" y="1749144"/>
            <a:ext cx="6540500" cy="359997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A4DDA5E4-8894-2D51-C906-C5F8136EB82A}"/>
              </a:ext>
            </a:extLst>
          </p:cNvPr>
          <p:cNvSpPr txBox="1"/>
          <p:nvPr/>
        </p:nvSpPr>
        <p:spPr>
          <a:xfrm>
            <a:off x="6252188" y="801815"/>
            <a:ext cx="3044213" cy="43601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8099" tIns="38099" rIns="38099" bIns="38099" numCol="1" spcCol="38100" rtlCol="0" anchor="t">
            <a:spAutoFit/>
          </a:bodyPr>
          <a:lstStyle>
            <a:defPPr>
              <a:defRPr lang="en-US"/>
            </a:defPPr>
            <a:lvl1pPr marL="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0985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6197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295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2393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492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8590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66893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47878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167">
                <a:solidFill>
                  <a:schemeClr val="tx1"/>
                </a:solidFill>
                <a:cs typeface="Times New Roman" panose="02020603050405020304" pitchFamily="18" charset="0"/>
              </a:rPr>
              <a:t>Online documentation: </a:t>
            </a:r>
            <a:r>
              <a:rPr lang="en-GB" sz="1167">
                <a:solidFill>
                  <a:schemeClr val="tx1"/>
                </a:solidFill>
                <a:cs typeface="Times New Roman" panose="02020603050405020304" pitchFamily="18" charset="0"/>
                <a:hlinkClick r:id="rId4"/>
              </a:rPr>
              <a:t>https://kind.io.tudelft.nl/replanit/docs/</a:t>
            </a:r>
            <a:r>
              <a:rPr lang="en-GB" sz="1167">
                <a:cs typeface="Times New Roman" panose="02020603050405020304" pitchFamily="18" charset="0"/>
              </a:rPr>
              <a:t> </a:t>
            </a:r>
            <a:endParaRPr lang="en-GB" sz="1167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9" name="Slide Number Placeholder 1">
            <a:extLst>
              <a:ext uri="{FF2B5EF4-FFF2-40B4-BE49-F238E27FC236}">
                <a16:creationId xmlns:a16="http://schemas.microsoft.com/office/drawing/2014/main" id="{D15F39A7-B3D2-43C1-DA83-09678064E6F9}"/>
              </a:ext>
            </a:extLst>
          </p:cNvPr>
          <p:cNvSpPr txBox="1">
            <a:spLocks/>
          </p:cNvSpPr>
          <p:nvPr/>
        </p:nvSpPr>
        <p:spPr>
          <a:xfrm>
            <a:off x="9408154" y="5205109"/>
            <a:ext cx="151847" cy="14401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0985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6197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295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2393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492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8590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66893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47878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250"/>
          </a:p>
        </p:txBody>
      </p:sp>
    </p:spTree>
    <p:extLst>
      <p:ext uri="{BB962C8B-B14F-4D97-AF65-F5344CB8AC3E}">
        <p14:creationId xmlns:p14="http://schemas.microsoft.com/office/powerpoint/2010/main" val="332380151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3FEBB47-40C5-525D-906D-D7940E865F1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86" t="3142"/>
          <a:stretch/>
        </p:blipFill>
        <p:spPr>
          <a:xfrm>
            <a:off x="657" y="1278"/>
            <a:ext cx="10161233" cy="571668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39AE2EE7-39C2-A046-98CC-36C48E4B7C10}"/>
              </a:ext>
            </a:extLst>
          </p:cNvPr>
          <p:cNvSpPr txBox="1"/>
          <p:nvPr/>
        </p:nvSpPr>
        <p:spPr>
          <a:xfrm>
            <a:off x="102943" y="5056391"/>
            <a:ext cx="2229239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0985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6197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295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2393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492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8590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66893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47878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00" i="1"/>
              <a:t>Visual of a laptops’ DPP represented as a knowledge graph </a:t>
            </a:r>
          </a:p>
          <a:p>
            <a:r>
              <a:rPr lang="en-GB" sz="1000" i="1"/>
              <a:t>(from </a:t>
            </a:r>
            <a:r>
              <a:rPr lang="en-GB" sz="1000" i="1" err="1"/>
              <a:t>GraphDB</a:t>
            </a:r>
            <a:r>
              <a:rPr lang="en-GB" sz="1000" i="1"/>
              <a:t>)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1FFD42F-ECA7-7E5C-BD41-DEEE832F047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2746" y="2392326"/>
            <a:ext cx="1704669" cy="3176883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DD2B451E-A660-3EC5-774C-D472B4B4F05F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2682"/>
          <a:stretch/>
        </p:blipFill>
        <p:spPr>
          <a:xfrm>
            <a:off x="9121665" y="2358565"/>
            <a:ext cx="1029473" cy="3176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83244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DFBF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2"/>
          <p:cNvSpPr txBox="1"/>
          <p:nvPr/>
        </p:nvSpPr>
        <p:spPr>
          <a:xfrm>
            <a:off x="1571687" y="828893"/>
            <a:ext cx="2862383" cy="54081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3975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7949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61924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15898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69873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23848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77822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31797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l">
              <a:lnSpc>
                <a:spcPts val="4600"/>
              </a:lnSpc>
              <a:spcBef>
                <a:spcPct val="0"/>
              </a:spcBef>
            </a:pPr>
            <a:r>
              <a:rPr lang="en-US" sz="3334" spc="327">
                <a:solidFill>
                  <a:srgbClr val="35744F"/>
                </a:solidFill>
                <a:latin typeface="Arial Bold"/>
              </a:rPr>
              <a:t>Welcome!</a:t>
            </a:r>
          </a:p>
        </p:txBody>
      </p:sp>
      <p:sp>
        <p:nvSpPr>
          <p:cNvPr id="4" name="TextBox 4"/>
          <p:cNvSpPr txBox="1"/>
          <p:nvPr/>
        </p:nvSpPr>
        <p:spPr>
          <a:xfrm>
            <a:off x="3319479" y="1519273"/>
            <a:ext cx="6157383" cy="55902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3975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7949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61924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15898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69873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23848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77822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31797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2300"/>
              </a:lnSpc>
              <a:spcBef>
                <a:spcPct val="0"/>
              </a:spcBef>
            </a:pPr>
            <a:r>
              <a:rPr lang="en-US" sz="1639" spc="163">
                <a:solidFill>
                  <a:srgbClr val="397D5A"/>
                </a:solidFill>
                <a:latin typeface="Arial Bold"/>
                <a:cs typeface="Arial Bold"/>
              </a:rPr>
              <a:t>The webinar will be recorded and shared on the </a:t>
            </a:r>
            <a:r>
              <a:rPr lang="en-US" sz="1639" spc="163" err="1">
                <a:solidFill>
                  <a:srgbClr val="397D5A"/>
                </a:solidFill>
                <a:latin typeface="Arial Bold"/>
                <a:cs typeface="Arial Bold"/>
              </a:rPr>
              <a:t>Youtube</a:t>
            </a:r>
            <a:r>
              <a:rPr lang="en-US" sz="1639" spc="163">
                <a:solidFill>
                  <a:srgbClr val="397D5A"/>
                </a:solidFill>
                <a:latin typeface="Arial Bold"/>
                <a:cs typeface="Arial Bold"/>
              </a:rPr>
              <a:t> channel of the NCDD.</a:t>
            </a:r>
          </a:p>
        </p:txBody>
      </p:sp>
      <p:sp>
        <p:nvSpPr>
          <p:cNvPr id="7" name="TextBox 7"/>
          <p:cNvSpPr txBox="1"/>
          <p:nvPr/>
        </p:nvSpPr>
        <p:spPr>
          <a:xfrm>
            <a:off x="3332307" y="2375503"/>
            <a:ext cx="6144555" cy="85112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3975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7949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61924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15898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69873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23848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77822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31797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2300"/>
              </a:lnSpc>
              <a:spcBef>
                <a:spcPct val="0"/>
              </a:spcBef>
            </a:pPr>
            <a:r>
              <a:rPr lang="en-US" sz="1639" spc="163">
                <a:solidFill>
                  <a:srgbClr val="397D5A"/>
                </a:solidFill>
                <a:latin typeface="Arial Bold"/>
                <a:cs typeface="Arial Bold"/>
              </a:rPr>
              <a:t>Please turn off your camera and microphone during the presentation, so all participants can see and hear the presentation clearly.</a:t>
            </a:r>
          </a:p>
        </p:txBody>
      </p:sp>
      <p:sp>
        <p:nvSpPr>
          <p:cNvPr id="9" name="TextBox 9"/>
          <p:cNvSpPr txBox="1"/>
          <p:nvPr/>
        </p:nvSpPr>
        <p:spPr>
          <a:xfrm>
            <a:off x="3338722" y="3553435"/>
            <a:ext cx="4778342" cy="114322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3975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7949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61924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15898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69873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23848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77822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31797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2300"/>
              </a:lnSpc>
              <a:spcBef>
                <a:spcPct val="0"/>
              </a:spcBef>
            </a:pPr>
            <a:endParaRPr lang="en-US" sz="1600" spc="163">
              <a:solidFill>
                <a:srgbClr val="397D5A"/>
              </a:solidFill>
              <a:latin typeface="Arial Bold"/>
              <a:cs typeface="Arial Bold"/>
            </a:endParaRPr>
          </a:p>
          <a:p>
            <a:pPr>
              <a:lnSpc>
                <a:spcPts val="2300"/>
              </a:lnSpc>
              <a:spcBef>
                <a:spcPct val="0"/>
              </a:spcBef>
            </a:pPr>
            <a:endParaRPr lang="en-US" sz="1639" spc="163">
              <a:solidFill>
                <a:srgbClr val="397D5A"/>
              </a:solidFill>
              <a:latin typeface="Arial Bold"/>
              <a:cs typeface="Arial Bold"/>
            </a:endParaRPr>
          </a:p>
          <a:p>
            <a:pPr>
              <a:lnSpc>
                <a:spcPts val="2300"/>
              </a:lnSpc>
              <a:spcBef>
                <a:spcPct val="0"/>
              </a:spcBef>
            </a:pPr>
            <a:endParaRPr lang="en-US" sz="1639" spc="163">
              <a:solidFill>
                <a:srgbClr val="397D5A"/>
              </a:solidFill>
              <a:latin typeface="Arial Bold"/>
              <a:cs typeface="Arial Bold"/>
            </a:endParaRPr>
          </a:p>
          <a:p>
            <a:pPr>
              <a:lnSpc>
                <a:spcPts val="2300"/>
              </a:lnSpc>
              <a:spcBef>
                <a:spcPct val="0"/>
              </a:spcBef>
            </a:pPr>
            <a:r>
              <a:rPr lang="en-US" sz="1600" spc="163">
                <a:solidFill>
                  <a:srgbClr val="397D5A"/>
                </a:solidFill>
                <a:latin typeface="Arial Bold"/>
                <a:cs typeface="Arial Bold"/>
              </a:rPr>
              <a:t>Enjoy!</a:t>
            </a:r>
          </a:p>
        </p:txBody>
      </p:sp>
      <p:sp>
        <p:nvSpPr>
          <p:cNvPr id="11" name="Freeform 11"/>
          <p:cNvSpPr/>
          <p:nvPr/>
        </p:nvSpPr>
        <p:spPr>
          <a:xfrm rot="10800000">
            <a:off x="-12095" y="2264833"/>
            <a:ext cx="3579517" cy="3461121"/>
          </a:xfrm>
          <a:custGeom>
            <a:avLst/>
            <a:gdLst/>
            <a:ahLst/>
            <a:cxnLst/>
            <a:rect l="l" t="t" r="r" b="b"/>
            <a:pathLst>
              <a:path w="6443131" h="6230017">
                <a:moveTo>
                  <a:pt x="0" y="0"/>
                </a:moveTo>
                <a:lnTo>
                  <a:pt x="6443131" y="0"/>
                </a:lnTo>
                <a:lnTo>
                  <a:pt x="6443131" y="6230017"/>
                </a:lnTo>
                <a:lnTo>
                  <a:pt x="0" y="6230017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 l="-236826" b="-95923"/>
            </a:stretch>
          </a:blipFill>
        </p:spPr>
        <p:txBody>
          <a:bodyPr/>
          <a:lstStyle>
            <a:defPPr>
              <a:defRPr lang="en-US"/>
            </a:defPPr>
            <a:lvl1pPr marL="0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3975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7949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61924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15898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69873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23848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77822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31797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l-NL" sz="556"/>
          </a:p>
        </p:txBody>
      </p:sp>
    </p:spTree>
    <p:extLst>
      <p:ext uri="{BB962C8B-B14F-4D97-AF65-F5344CB8AC3E}">
        <p14:creationId xmlns:p14="http://schemas.microsoft.com/office/powerpoint/2010/main" val="383861556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">
            <a:extLst>
              <a:ext uri="{FF2B5EF4-FFF2-40B4-BE49-F238E27FC236}">
                <a16:creationId xmlns:a16="http://schemas.microsoft.com/office/drawing/2014/main" id="{0158940F-4471-778B-DEA2-89CC8AC34433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133350"/>
            <a:ext cx="7608888" cy="1036638"/>
          </a:xfrm>
        </p:spPr>
        <p:txBody>
          <a:bodyPr>
            <a:normAutofit/>
          </a:bodyPr>
          <a:lstStyle>
            <a:defPPr>
              <a:defRPr lang="en-US"/>
            </a:defPPr>
            <a:lvl1pPr marL="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0985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6197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295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2393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492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8590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66893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47878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800">
                <a:latin typeface="Arial Bold"/>
                <a:cs typeface="Arial Bold"/>
              </a:rPr>
              <a:t>The </a:t>
            </a:r>
            <a:r>
              <a:rPr lang="en-GB" sz="2800" err="1">
                <a:latin typeface="Arial Bold"/>
                <a:cs typeface="Arial Bold"/>
              </a:rPr>
              <a:t>RePlanIT</a:t>
            </a:r>
            <a:r>
              <a:rPr lang="en-GB" sz="2800">
                <a:latin typeface="Arial Bold"/>
                <a:cs typeface="Arial Bold"/>
              </a:rPr>
              <a:t> Knowledge Graph and API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F59F6705-4A4D-E6A7-9394-3D11F0111F25}"/>
              </a:ext>
            </a:extLst>
          </p:cNvPr>
          <p:cNvSpPr txBox="1">
            <a:spLocks/>
          </p:cNvSpPr>
          <p:nvPr/>
        </p:nvSpPr>
        <p:spPr>
          <a:xfrm>
            <a:off x="512811" y="1879844"/>
            <a:ext cx="2851403" cy="2569949"/>
          </a:xfrm>
          <a:prstGeom prst="rect">
            <a:avLst/>
          </a:prstGeom>
        </p:spPr>
        <p:txBody>
          <a:bodyPr>
            <a:noAutofit/>
          </a:bodyPr>
          <a:lstStyle>
            <a:defPPr>
              <a:defRPr lang="en-US"/>
            </a:defPPr>
            <a:lvl1pPr marL="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0985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6197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295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2393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492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8590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66893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47878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buFont typeface="Arial" panose="020B0604020202020204" pitchFamily="34" charset="0"/>
              <a:buNone/>
            </a:pPr>
            <a:r>
              <a:rPr lang="en-GB" sz="1167">
                <a:cs typeface="Arial" panose="020B0604020202020204" pitchFamily="34" charset="0"/>
              </a:rPr>
              <a:t>Comprises of </a:t>
            </a:r>
            <a:r>
              <a:rPr lang="en-GB" sz="1167" u="sng">
                <a:solidFill>
                  <a:schemeClr val="tx2"/>
                </a:solidFill>
                <a:cs typeface="Arial" panose="020B0604020202020204" pitchFamily="34" charset="0"/>
              </a:rPr>
              <a:t>129 DPPs </a:t>
            </a:r>
            <a:r>
              <a:rPr lang="en-GB" sz="1167">
                <a:cs typeface="Arial" panose="020B0604020202020204" pitchFamily="34" charset="0"/>
              </a:rPr>
              <a:t>of (new, refurbished and repaired) </a:t>
            </a:r>
            <a:r>
              <a:rPr lang="en-GB" sz="1167" u="sng">
                <a:solidFill>
                  <a:schemeClr val="tx2"/>
                </a:solidFill>
                <a:cs typeface="Arial" panose="020B0604020202020204" pitchFamily="34" charset="0"/>
              </a:rPr>
              <a:t>laptops</a:t>
            </a:r>
            <a:r>
              <a:rPr lang="en-GB" sz="1167">
                <a:cs typeface="Arial" panose="020B0604020202020204" pitchFamily="34" charset="0"/>
              </a:rPr>
              <a:t> and </a:t>
            </a:r>
            <a:r>
              <a:rPr lang="en-GB" sz="1167" u="sng">
                <a:solidFill>
                  <a:schemeClr val="tx2"/>
                </a:solidFill>
                <a:cs typeface="Arial" panose="020B0604020202020204" pitchFamily="34" charset="0"/>
              </a:rPr>
              <a:t>data servers </a:t>
            </a:r>
            <a:r>
              <a:rPr lang="en-GB" sz="1167">
                <a:cs typeface="Arial" panose="020B0604020202020204" pitchFamily="34" charset="0"/>
              </a:rPr>
              <a:t>from different brands (commonly used by companies in the Netherlands)</a:t>
            </a:r>
          </a:p>
          <a:p>
            <a:pPr>
              <a:lnSpc>
                <a:spcPct val="120000"/>
              </a:lnSpc>
            </a:pPr>
            <a:endParaRPr lang="en-GB" sz="1167">
              <a:cs typeface="Arial" panose="020B0604020202020204" pitchFamily="34" charset="0"/>
            </a:endParaRP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5CC99F87-77A9-70E1-A347-EDDB5C7CED8C}"/>
              </a:ext>
            </a:extLst>
          </p:cNvPr>
          <p:cNvSpPr txBox="1">
            <a:spLocks/>
          </p:cNvSpPr>
          <p:nvPr/>
        </p:nvSpPr>
        <p:spPr>
          <a:xfrm>
            <a:off x="9408154" y="5205109"/>
            <a:ext cx="151847" cy="14401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0985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6197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295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2393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492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8590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66893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47878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25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9C0E237-8D4D-2EB4-89E9-5A20CB78762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4214" y="1265193"/>
            <a:ext cx="6477000" cy="3474705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E5C611C9-F2D9-A629-1B1F-CF65768E4E5C}"/>
              </a:ext>
            </a:extLst>
          </p:cNvPr>
          <p:cNvSpPr txBox="1"/>
          <p:nvPr/>
        </p:nvSpPr>
        <p:spPr>
          <a:xfrm>
            <a:off x="3364214" y="4789309"/>
            <a:ext cx="6347692" cy="38471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8099" tIns="38099" rIns="38099" bIns="38099" numCol="1" spcCol="38100" rtlCol="0" anchor="t">
            <a:spAutoFit/>
          </a:bodyPr>
          <a:lstStyle>
            <a:defPPr>
              <a:defRPr lang="en-US"/>
            </a:defPPr>
            <a:lvl1pPr marL="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0985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6197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295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2393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492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8590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66893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47878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l" defTabSz="76197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GB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ea typeface="Arial"/>
                <a:cs typeface="Arial"/>
                <a:sym typeface="Arial"/>
              </a:rPr>
              <a:t>API </a:t>
            </a:r>
            <a:r>
              <a:rPr lang="en-GB" sz="1000"/>
              <a:t>endpoints a</a:t>
            </a:r>
            <a:r>
              <a:rPr kumimoji="0" lang="en-GB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ea typeface="Arial"/>
                <a:cs typeface="Arial"/>
                <a:sym typeface="Arial"/>
              </a:rPr>
              <a:t>vailable at </a:t>
            </a:r>
            <a:r>
              <a:rPr kumimoji="0" lang="en-GB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ea typeface="Arial"/>
                <a:cs typeface="Arial"/>
                <a:sym typeface="Arial"/>
                <a:hlinkClick r:id="rId3"/>
              </a:rPr>
              <a:t>https://app.swaggerhub.com/apis-docs/RePlanIT/RePlanITLaptopDPP/1.2.0#/</a:t>
            </a:r>
            <a:endParaRPr kumimoji="0" lang="en-GB" sz="1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ea typeface="Arial"/>
              <a:cs typeface="Arial"/>
              <a:sym typeface="Arial"/>
            </a:endParaRPr>
          </a:p>
          <a:p>
            <a:pPr marL="0" marR="0" indent="0" algn="l" defTabSz="76197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GB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ea typeface="Arial"/>
                <a:cs typeface="Arial"/>
                <a:sym typeface="Arial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0454726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">
            <a:extLst>
              <a:ext uri="{FF2B5EF4-FFF2-40B4-BE49-F238E27FC236}">
                <a16:creationId xmlns:a16="http://schemas.microsoft.com/office/drawing/2014/main" id="{8132D996-4ACA-D0FB-67EE-15FD7930483B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292100"/>
            <a:ext cx="9667875" cy="1036638"/>
          </a:xfrm>
        </p:spPr>
        <p:txBody>
          <a:bodyPr>
            <a:normAutofit/>
          </a:bodyPr>
          <a:lstStyle>
            <a:defPPr>
              <a:defRPr lang="en-US"/>
            </a:defPPr>
            <a:lvl1pPr marL="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0985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6197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295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2393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492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8590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66893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47878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800" b="1">
                <a:latin typeface="Arial Bold"/>
                <a:cs typeface="Arial Bold"/>
              </a:rPr>
              <a:t>Applications of the DPPs: Opportunity for predictive maintenanc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429B87F-66AE-C392-4878-7C3578EC6D3E}"/>
              </a:ext>
            </a:extLst>
          </p:cNvPr>
          <p:cNvSpPr txBox="1"/>
          <p:nvPr/>
        </p:nvSpPr>
        <p:spPr>
          <a:xfrm>
            <a:off x="307798" y="1828361"/>
            <a:ext cx="9832519" cy="50257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en-US"/>
            </a:defPPr>
            <a:lvl1pPr marL="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0985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6197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295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2393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492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8590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66893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47878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115" lvl="1" indent="-285115">
              <a:buFont typeface="Arial" panose="020B0604020202020204" pitchFamily="34" charset="0"/>
              <a:buChar char="•"/>
            </a:pPr>
            <a:r>
              <a:rPr lang="en-GB" sz="1300" b="1">
                <a:cs typeface="Times New Roman"/>
              </a:rPr>
              <a:t>Predictive maintenance that helps extend the lifetime of ICT hardware </a:t>
            </a:r>
            <a:endParaRPr lang="en-GB" sz="1300" b="1">
              <a:cs typeface="Times New Roman" panose="02020603050405020304" pitchFamily="18" charset="0"/>
            </a:endParaRPr>
          </a:p>
          <a:p>
            <a:pPr marL="380365" lvl="1" indent="0"/>
            <a:r>
              <a:rPr lang="en-GB" sz="1333" i="1">
                <a:solidFill>
                  <a:schemeClr val="tx1"/>
                </a:solidFill>
                <a:cs typeface="Times New Roman" panose="02020603050405020304" pitchFamily="18" charset="0"/>
              </a:rPr>
              <a:t>	Based on energy usage, when is a device most likely to fail, overheat etc.?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50D7C27-51DE-8441-F106-F7761C48F597}"/>
              </a:ext>
            </a:extLst>
          </p:cNvPr>
          <p:cNvSpPr txBox="1"/>
          <p:nvPr/>
        </p:nvSpPr>
        <p:spPr>
          <a:xfrm>
            <a:off x="319012" y="2917545"/>
            <a:ext cx="9810092" cy="50257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en-US"/>
            </a:defPPr>
            <a:lvl1pPr marL="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0985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6197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295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2393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492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8590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66893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47878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115" lvl="1" indent="-285115">
              <a:buFont typeface="Arial" panose="020B0604020202020204" pitchFamily="34" charset="0"/>
              <a:buChar char="•"/>
            </a:pPr>
            <a:r>
              <a:rPr lang="en-GB" sz="1300" b="1">
                <a:cs typeface="Times New Roman"/>
              </a:rPr>
              <a:t>Circular process recommendations</a:t>
            </a:r>
          </a:p>
          <a:p>
            <a:pPr marL="0" lvl="1"/>
            <a:r>
              <a:rPr lang="en-GB" sz="1300" i="1">
                <a:cs typeface="Times New Roman"/>
              </a:rPr>
              <a:t>	For a device X, what circular process, when, why and how should be applied to extend its lifetime?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151C0B4-74E2-D007-7DDE-57B76B08DFA0}"/>
              </a:ext>
            </a:extLst>
          </p:cNvPr>
          <p:cNvSpPr txBox="1"/>
          <p:nvPr/>
        </p:nvSpPr>
        <p:spPr>
          <a:xfrm>
            <a:off x="319012" y="3864739"/>
            <a:ext cx="9810092" cy="50257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en-US"/>
            </a:defPPr>
            <a:lvl1pPr marL="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0985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6197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295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2393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492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8590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66893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47878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7490" indent="-237490">
              <a:buFont typeface="Arial" panose="020B0604020202020204" pitchFamily="34" charset="0"/>
              <a:buChar char="•"/>
            </a:pPr>
            <a:r>
              <a:rPr lang="en-GB" sz="1300" b="1">
                <a:cs typeface="Times New Roman"/>
              </a:rPr>
              <a:t>Understand what specific data is needed to make optimal circularity recommendations</a:t>
            </a:r>
          </a:p>
          <a:p>
            <a:endParaRPr lang="en-GB" sz="1333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48297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  <p:bldP spid="9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">
            <a:extLst>
              <a:ext uri="{FF2B5EF4-FFF2-40B4-BE49-F238E27FC236}">
                <a16:creationId xmlns:a16="http://schemas.microsoft.com/office/drawing/2014/main" id="{3CD30790-CC84-83EF-4532-274D432A228E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250825"/>
            <a:ext cx="7929563" cy="1055688"/>
          </a:xfrm>
        </p:spPr>
        <p:txBody>
          <a:bodyPr>
            <a:normAutofit/>
          </a:bodyPr>
          <a:lstStyle>
            <a:defPPr>
              <a:defRPr lang="en-US"/>
            </a:defPPr>
            <a:lvl1pPr marL="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0985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6197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295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2393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492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8590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66893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47878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800" b="1">
                <a:latin typeface="Arial Bold"/>
                <a:cs typeface="Arial Bold"/>
              </a:rPr>
              <a:t>Applications of the DPPs: Opportunity for predictive maintenance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4F92889-6F7F-7FDC-8774-3C91292ECCD1}"/>
              </a:ext>
            </a:extLst>
          </p:cNvPr>
          <p:cNvSpPr txBox="1">
            <a:spLocks/>
          </p:cNvSpPr>
          <p:nvPr/>
        </p:nvSpPr>
        <p:spPr>
          <a:xfrm>
            <a:off x="582084" y="617916"/>
            <a:ext cx="9180143" cy="408668"/>
          </a:xfrm>
          <a:prstGeom prst="rect">
            <a:avLst/>
          </a:prstGeom>
        </p:spPr>
        <p:txBody>
          <a:bodyPr vert="horz" lIns="0" tIns="0" rIns="0" bIns="0" rtlCol="0" anchor="b" anchorCtr="0">
            <a:normAutofit fontScale="90000" lnSpcReduction="10000"/>
          </a:bodyPr>
          <a:lstStyle>
            <a:defPPr>
              <a:defRPr lang="en-US"/>
            </a:defPPr>
            <a:lvl1pPr marL="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0985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6197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295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2393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492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8590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66893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47878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25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6C1DA537-0701-327F-678E-28F8BA6B5FC0}"/>
              </a:ext>
            </a:extLst>
          </p:cNvPr>
          <p:cNvSpPr txBox="1">
            <a:spLocks/>
          </p:cNvSpPr>
          <p:nvPr/>
        </p:nvSpPr>
        <p:spPr>
          <a:xfrm>
            <a:off x="582083" y="1326584"/>
            <a:ext cx="8977917" cy="1225398"/>
          </a:xfrm>
          <a:prstGeom prst="rect">
            <a:avLst/>
          </a:prstGeom>
        </p:spPr>
        <p:txBody>
          <a:bodyPr>
            <a:noAutofit/>
          </a:bodyPr>
          <a:lstStyle>
            <a:defPPr>
              <a:defRPr lang="en-US"/>
            </a:defPPr>
            <a:lvl1pPr marL="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0985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6197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295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2393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492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8590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66893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47878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GB" sz="1500">
                <a:solidFill>
                  <a:schemeClr val="accent1"/>
                </a:solidFill>
              </a:rPr>
              <a:t>Use case: Data servers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GB" sz="1500"/>
              <a:t>Performance data from </a:t>
            </a:r>
            <a:r>
              <a:rPr lang="en-GB" sz="1500" b="1" u="sng"/>
              <a:t>1 data centre</a:t>
            </a:r>
            <a:r>
              <a:rPr lang="en-GB" sz="1500" u="sng"/>
              <a:t>, </a:t>
            </a:r>
            <a:r>
              <a:rPr lang="en-GB" sz="1500" b="1" u="sng"/>
              <a:t>140 data servers, recorded every 15 min over 3 months</a:t>
            </a:r>
            <a:endParaRPr lang="en-GB" sz="1500"/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en-GB" sz="1500" i="1"/>
              <a:t>(Number of virtual machines running, CPU and memory utilisation, energy consumption, errors etc.)</a:t>
            </a:r>
          </a:p>
          <a:p>
            <a:pPr marL="0" indent="0" algn="ctr">
              <a:buFont typeface="Arial" panose="020B0604020202020204" pitchFamily="34" charset="0"/>
              <a:buNone/>
            </a:pPr>
            <a:endParaRPr lang="en-GB" sz="1500" i="1"/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C31C19F5-3793-B2C3-4135-43A413FA61B6}"/>
              </a:ext>
            </a:extLst>
          </p:cNvPr>
          <p:cNvSpPr txBox="1">
            <a:spLocks/>
          </p:cNvSpPr>
          <p:nvPr/>
        </p:nvSpPr>
        <p:spPr>
          <a:xfrm>
            <a:off x="9408154" y="5205109"/>
            <a:ext cx="151847" cy="14401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0985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6197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295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2393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492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8590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66893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47878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250"/>
          </a:p>
        </p:txBody>
      </p: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0421DBB5-21D2-6267-F511-7A95FCCA5F2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70014884"/>
              </p:ext>
            </p:extLst>
          </p:nvPr>
        </p:nvGraphicFramePr>
        <p:xfrm>
          <a:off x="923026" y="2298566"/>
          <a:ext cx="8504083" cy="237634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94EA53D1-10B4-2A88-5CC0-220D9B71C13C}"/>
              </a:ext>
            </a:extLst>
          </p:cNvPr>
          <p:cNvSpPr txBox="1"/>
          <p:nvPr/>
        </p:nvSpPr>
        <p:spPr>
          <a:xfrm>
            <a:off x="4500113" y="4969339"/>
            <a:ext cx="1444838" cy="28212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8099" tIns="38099" rIns="38099" bIns="38099" numCol="1" spcCol="38100" rtlCol="0" anchor="t">
            <a:spAutoFit/>
          </a:bodyPr>
          <a:lstStyle>
            <a:defPPr>
              <a:defRPr lang="en-US"/>
            </a:defPPr>
            <a:lvl1pPr marL="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0985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6197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295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2393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492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8590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66893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47878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l" defTabSz="76197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GB" sz="1333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rPr>
              <a:t>Process Workflow</a:t>
            </a:r>
          </a:p>
        </p:txBody>
      </p:sp>
    </p:spTree>
    <p:extLst>
      <p:ext uri="{BB962C8B-B14F-4D97-AF65-F5344CB8AC3E}">
        <p14:creationId xmlns:p14="http://schemas.microsoft.com/office/powerpoint/2010/main" val="110730532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BE48177B-33D1-3C3B-B61E-65E58270E106}"/>
              </a:ext>
            </a:extLst>
          </p:cNvPr>
          <p:cNvSpPr txBox="1">
            <a:spLocks/>
          </p:cNvSpPr>
          <p:nvPr/>
        </p:nvSpPr>
        <p:spPr>
          <a:xfrm>
            <a:off x="582083" y="985389"/>
            <a:ext cx="8977917" cy="3971581"/>
          </a:xfrm>
          <a:prstGeom prst="rect">
            <a:avLst/>
          </a:prstGeom>
        </p:spPr>
        <p:txBody>
          <a:bodyPr lIns="91440" tIns="45720" rIns="91440" bIns="45720" anchor="t">
            <a:normAutofit lnSpcReduction="10000"/>
          </a:bodyPr>
          <a:lstStyle>
            <a:defPPr>
              <a:defRPr lang="en-US"/>
            </a:defPPr>
            <a:lvl1pPr marL="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0985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6197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295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2393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492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8590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66893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47878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300"/>
              <a:t>On average (based on servers with the highest number of errors) -&gt; failures reported on days 60-62 </a:t>
            </a:r>
            <a:endParaRPr lang="en-US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300"/>
              <a:t>Most failures on </a:t>
            </a:r>
            <a:r>
              <a:rPr lang="en-US" sz="1300">
                <a:solidFill>
                  <a:schemeClr val="accent1"/>
                </a:solidFill>
              </a:rPr>
              <a:t>Sundays</a:t>
            </a:r>
            <a:r>
              <a:rPr lang="en-US" sz="1300"/>
              <a:t>, least on </a:t>
            </a:r>
            <a:r>
              <a:rPr lang="en-US" sz="1300">
                <a:solidFill>
                  <a:schemeClr val="accent1"/>
                </a:solidFill>
              </a:rPr>
              <a:t>Thursday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300"/>
              <a:t>Servers are </a:t>
            </a:r>
            <a:r>
              <a:rPr lang="en-US" sz="1300" err="1">
                <a:solidFill>
                  <a:schemeClr val="accent1"/>
                </a:solidFill>
              </a:rPr>
              <a:t>underutilised</a:t>
            </a:r>
            <a:r>
              <a:rPr lang="en-US" sz="1300"/>
              <a:t> in terms of CPU and memory usage (&lt;=50%) </a:t>
            </a:r>
          </a:p>
          <a:p>
            <a:pPr marL="228600" lvl="1">
              <a:lnSpc>
                <a:spcPct val="150000"/>
              </a:lnSpc>
            </a:pPr>
            <a:r>
              <a:rPr lang="en-US" sz="1300" i="1"/>
              <a:t>    Based on average values and on KPIs such as server and data </a:t>
            </a:r>
            <a:r>
              <a:rPr lang="en-US" sz="1300" i="1" err="1"/>
              <a:t>centre</a:t>
            </a:r>
            <a:r>
              <a:rPr lang="en-US" sz="1300" i="1"/>
              <a:t> idle coefficients</a:t>
            </a:r>
          </a:p>
          <a:p>
            <a:pPr marL="285750" indent="-285750">
              <a:lnSpc>
                <a:spcPct val="150000"/>
              </a:lnSpc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en-US" sz="1300"/>
              <a:t>Highest contributors to a server’s energy consumption are the </a:t>
            </a:r>
            <a:r>
              <a:rPr lang="en-US" sz="1300">
                <a:solidFill>
                  <a:schemeClr val="accent1"/>
                </a:solidFill>
              </a:rPr>
              <a:t>CPU</a:t>
            </a:r>
            <a:r>
              <a:rPr lang="en-US" sz="1300"/>
              <a:t>, </a:t>
            </a:r>
            <a:r>
              <a:rPr lang="en-US" sz="1300">
                <a:solidFill>
                  <a:schemeClr val="accent1"/>
                </a:solidFill>
              </a:rPr>
              <a:t>memory</a:t>
            </a:r>
            <a:r>
              <a:rPr lang="en-US" sz="1300"/>
              <a:t> and </a:t>
            </a:r>
            <a:r>
              <a:rPr lang="en-US" sz="1300">
                <a:solidFill>
                  <a:schemeClr val="accent1"/>
                </a:solidFill>
              </a:rPr>
              <a:t>number of running virtual machines</a:t>
            </a:r>
          </a:p>
          <a:p>
            <a:pPr marL="285750" indent="-285750">
              <a:lnSpc>
                <a:spcPct val="150000"/>
              </a:lnSpc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en-US" sz="1300"/>
              <a:t>ML (linear regression) shows a </a:t>
            </a:r>
            <a:r>
              <a:rPr lang="en-US" sz="1300">
                <a:solidFill>
                  <a:schemeClr val="accent1"/>
                </a:solidFill>
              </a:rPr>
              <a:t>rising energy consumption trend </a:t>
            </a:r>
            <a:r>
              <a:rPr lang="en-US" sz="1300"/>
              <a:t>in the future for the servers (expected rise with up to 100kWh) -&gt; This is dataset specific as for our dataset 2 there is no rise (energy usage remains consistent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300"/>
              <a:t>ML (PCA) shows all data types needed for explaining the dataset (7 of 8 contribute to 99.7% explanation</a:t>
            </a:r>
            <a:r>
              <a:rPr lang="en-US" sz="1300">
                <a:solidFill>
                  <a:srgbClr val="23282F"/>
                </a:solidFill>
              </a:rPr>
              <a:t>)</a:t>
            </a:r>
            <a:r>
              <a:rPr lang="en-US" sz="1300" i="1">
                <a:solidFill>
                  <a:schemeClr val="accent1"/>
                </a:solidFill>
              </a:rPr>
              <a:t>(host_name; Timestamp; </a:t>
            </a:r>
            <a:r>
              <a:rPr lang="en-US" sz="1300" i="1" err="1">
                <a:solidFill>
                  <a:schemeClr val="accent1"/>
                </a:solidFill>
              </a:rPr>
              <a:t>VM_total</a:t>
            </a:r>
            <a:r>
              <a:rPr lang="en-US" sz="1300" i="1">
                <a:solidFill>
                  <a:schemeClr val="accent1"/>
                </a:solidFill>
              </a:rPr>
              <a:t>; </a:t>
            </a:r>
            <a:r>
              <a:rPr lang="en-US" sz="1300" i="1" err="1">
                <a:solidFill>
                  <a:schemeClr val="accent1"/>
                </a:solidFill>
              </a:rPr>
              <a:t>Hardware_powerstate</a:t>
            </a:r>
            <a:r>
              <a:rPr lang="en-US" sz="1300" i="1">
                <a:solidFill>
                  <a:schemeClr val="accent1"/>
                </a:solidFill>
              </a:rPr>
              <a:t>; </a:t>
            </a:r>
            <a:r>
              <a:rPr lang="en-US" sz="1300" i="1" err="1">
                <a:solidFill>
                  <a:schemeClr val="accent1"/>
                </a:solidFill>
              </a:rPr>
              <a:t>Hardware_overall_status</a:t>
            </a:r>
            <a:r>
              <a:rPr lang="en-US" sz="1300" i="1">
                <a:solidFill>
                  <a:schemeClr val="accent1"/>
                </a:solidFill>
              </a:rPr>
              <a:t>; </a:t>
            </a:r>
            <a:r>
              <a:rPr lang="en-US" sz="1300" i="1" err="1">
                <a:solidFill>
                  <a:schemeClr val="accent1"/>
                </a:solidFill>
              </a:rPr>
              <a:t>Hardware_runtime_hours</a:t>
            </a:r>
            <a:r>
              <a:rPr lang="en-US" sz="1300" i="1">
                <a:solidFill>
                  <a:schemeClr val="accent1"/>
                </a:solidFill>
              </a:rPr>
              <a:t>;   </a:t>
            </a:r>
            <a:r>
              <a:rPr lang="en-US" sz="1300" i="1" err="1">
                <a:solidFill>
                  <a:schemeClr val="accent1"/>
                </a:solidFill>
              </a:rPr>
              <a:t>Usage_power_watt</a:t>
            </a:r>
            <a:r>
              <a:rPr lang="en-US" sz="1300" i="1">
                <a:solidFill>
                  <a:schemeClr val="accent1"/>
                </a:solidFill>
              </a:rPr>
              <a:t>; </a:t>
            </a:r>
            <a:r>
              <a:rPr lang="en-US" sz="1300" i="1" err="1">
                <a:solidFill>
                  <a:schemeClr val="accent1"/>
                </a:solidFill>
              </a:rPr>
              <a:t>Usage_cpu_percentage</a:t>
            </a:r>
            <a:r>
              <a:rPr lang="en-US" sz="1300" i="1">
                <a:solidFill>
                  <a:schemeClr val="accent1"/>
                </a:solidFill>
              </a:rPr>
              <a:t>; </a:t>
            </a:r>
            <a:r>
              <a:rPr lang="en-US" sz="1300" i="1" err="1">
                <a:solidFill>
                  <a:schemeClr val="accent1"/>
                </a:solidFill>
              </a:rPr>
              <a:t>Usage_memory_percentage</a:t>
            </a:r>
            <a:r>
              <a:rPr lang="en-US" sz="1300" i="1">
                <a:solidFill>
                  <a:schemeClr val="accent1"/>
                </a:solidFill>
              </a:rPr>
              <a:t>)</a:t>
            </a:r>
          </a:p>
          <a:p>
            <a:pPr marL="285750" indent="-285750">
              <a:lnSpc>
                <a:spcPct val="150000"/>
              </a:lnSpc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en-US" sz="1300"/>
              <a:t>Data diversity and quality are key for failure prediction</a:t>
            </a:r>
          </a:p>
          <a:p>
            <a:pPr>
              <a:lnSpc>
                <a:spcPct val="150000"/>
              </a:lnSpc>
              <a:spcAft>
                <a:spcPts val="500"/>
              </a:spcAft>
              <a:buFont typeface="Arial" panose="020B0604020202020204" pitchFamily="34" charset="0"/>
            </a:pPr>
            <a:r>
              <a:rPr lang="en-US" sz="1300"/>
              <a:t>Predicting server failures without samples of failures in a dataset is a challenge (for humans and for AI)</a:t>
            </a:r>
          </a:p>
        </p:txBody>
      </p:sp>
      <p:sp>
        <p:nvSpPr>
          <p:cNvPr id="7" name="Title 2">
            <a:extLst>
              <a:ext uri="{FF2B5EF4-FFF2-40B4-BE49-F238E27FC236}">
                <a16:creationId xmlns:a16="http://schemas.microsoft.com/office/drawing/2014/main" id="{446DFCBA-F394-CBEC-0C54-5696A264E084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298450"/>
            <a:ext cx="9175750" cy="515938"/>
          </a:xfrm>
        </p:spPr>
        <p:txBody>
          <a:bodyPr>
            <a:normAutofit/>
          </a:bodyPr>
          <a:lstStyle>
            <a:defPPr>
              <a:defRPr lang="en-US"/>
            </a:defPPr>
            <a:lvl1pPr marL="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0985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6197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295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2393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492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8590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66893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47878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800" b="1">
                <a:latin typeface="Arial Bold"/>
                <a:cs typeface="Arial Bold"/>
              </a:rPr>
              <a:t>Application of the DPPs: Findings</a:t>
            </a:r>
          </a:p>
        </p:txBody>
      </p:sp>
    </p:spTree>
    <p:extLst>
      <p:ext uri="{BB962C8B-B14F-4D97-AF65-F5344CB8AC3E}">
        <p14:creationId xmlns:p14="http://schemas.microsoft.com/office/powerpoint/2010/main" val="81606341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0836F3E6-4570-6822-EE2B-F1D115605C64}"/>
              </a:ext>
            </a:extLst>
          </p:cNvPr>
          <p:cNvSpPr txBox="1">
            <a:spLocks/>
          </p:cNvSpPr>
          <p:nvPr/>
        </p:nvSpPr>
        <p:spPr>
          <a:xfrm>
            <a:off x="478654" y="1082722"/>
            <a:ext cx="9202693" cy="3549556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defPPr>
              <a:defRPr lang="en-US"/>
            </a:defPPr>
            <a:lvl1pPr marL="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0985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6197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295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2393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492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8590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66893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47878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333"/>
              </a:spcBef>
            </a:pPr>
            <a:r>
              <a:rPr lang="en-GB" sz="1300" b="1"/>
              <a:t>Main challenges to building DPPs with ontologies, knowledge graphs and their ML utilisation for</a:t>
            </a:r>
            <a:endParaRPr lang="en-US" sz="1300"/>
          </a:p>
          <a:p>
            <a:pPr>
              <a:spcBef>
                <a:spcPts val="333"/>
              </a:spcBef>
            </a:pPr>
            <a:r>
              <a:rPr lang="en-GB" sz="1300" b="1"/>
              <a:t> more sustainable ICT:</a:t>
            </a:r>
            <a:endParaRPr lang="en-GB" sz="1300"/>
          </a:p>
          <a:p>
            <a:pPr marL="285750" indent="-285750">
              <a:spcBef>
                <a:spcPts val="333"/>
              </a:spcBef>
              <a:buFont typeface="Arial"/>
              <a:buChar char="•"/>
            </a:pPr>
            <a:r>
              <a:rPr lang="en-GB" sz="1300"/>
              <a:t>Data </a:t>
            </a:r>
            <a:r>
              <a:rPr lang="en-GB" sz="1300" b="1"/>
              <a:t>availability</a:t>
            </a:r>
            <a:r>
              <a:rPr lang="en-GB" sz="1300"/>
              <a:t> (is (useful and diverse) data recorded along the supply chain; publicly available?)</a:t>
            </a:r>
          </a:p>
          <a:p>
            <a:pPr marL="285750" indent="-285750">
              <a:spcBef>
                <a:spcPts val="333"/>
              </a:spcBef>
              <a:buFont typeface="Arial"/>
              <a:buChar char="•"/>
            </a:pPr>
            <a:r>
              <a:rPr lang="en-GB" sz="1300"/>
              <a:t>Data </a:t>
            </a:r>
            <a:r>
              <a:rPr lang="en-GB" sz="1300" b="1"/>
              <a:t>accessibility</a:t>
            </a:r>
            <a:r>
              <a:rPr lang="en-GB" sz="1300"/>
              <a:t>, </a:t>
            </a:r>
            <a:r>
              <a:rPr lang="en-GB" sz="1300" b="1"/>
              <a:t>privacy</a:t>
            </a:r>
            <a:r>
              <a:rPr lang="en-GB" sz="1300"/>
              <a:t> and </a:t>
            </a:r>
            <a:r>
              <a:rPr lang="en-GB" sz="1300" b="1"/>
              <a:t>security</a:t>
            </a:r>
            <a:r>
              <a:rPr lang="en-GB" sz="1300"/>
              <a:t> (who, when can access data; formats; sharing conditions, decentralisation…)</a:t>
            </a:r>
          </a:p>
          <a:p>
            <a:pPr marL="285750" indent="-285750">
              <a:spcBef>
                <a:spcPts val="333"/>
              </a:spcBef>
              <a:buFont typeface="Arial"/>
              <a:buChar char="•"/>
            </a:pPr>
            <a:r>
              <a:rPr lang="en-GB" sz="1300"/>
              <a:t>Data </a:t>
            </a:r>
            <a:r>
              <a:rPr lang="en-GB" sz="1300" b="1"/>
              <a:t>interpretation</a:t>
            </a:r>
            <a:r>
              <a:rPr lang="en-GB" sz="1300"/>
              <a:t> (format; semantics; need for domain expert)</a:t>
            </a:r>
          </a:p>
          <a:p>
            <a:pPr marL="285750" indent="-285750">
              <a:spcBef>
                <a:spcPts val="333"/>
              </a:spcBef>
              <a:buFont typeface="Arial"/>
              <a:buChar char="•"/>
            </a:pPr>
            <a:r>
              <a:rPr lang="en-GB" sz="1300"/>
              <a:t>Data </a:t>
            </a:r>
            <a:r>
              <a:rPr lang="en-GB" sz="1300" b="1"/>
              <a:t>quality</a:t>
            </a:r>
            <a:r>
              <a:rPr lang="en-GB" sz="1300"/>
              <a:t> (longer pre-processing time; missing values; affects ML results’ accuracy)</a:t>
            </a:r>
          </a:p>
          <a:p>
            <a:pPr marL="285750" indent="-285750">
              <a:spcBef>
                <a:spcPts val="333"/>
              </a:spcBef>
              <a:buFont typeface="Arial"/>
              <a:buChar char="•"/>
            </a:pPr>
            <a:r>
              <a:rPr lang="en-GB" sz="1300"/>
              <a:t>ML needs </a:t>
            </a:r>
            <a:r>
              <a:rPr lang="en-GB" sz="1300" b="1"/>
              <a:t>large amounts </a:t>
            </a:r>
            <a:r>
              <a:rPr lang="en-GB" sz="1300"/>
              <a:t>of </a:t>
            </a:r>
            <a:r>
              <a:rPr lang="en-GB" sz="1300" b="1"/>
              <a:t>diverse</a:t>
            </a:r>
            <a:r>
              <a:rPr lang="en-GB" sz="1300"/>
              <a:t> data (3 months were not enough to detect many failures for predictive maintenance)</a:t>
            </a:r>
          </a:p>
          <a:p>
            <a:pPr marL="285750" indent="-285750">
              <a:spcBef>
                <a:spcPts val="333"/>
              </a:spcBef>
              <a:buFont typeface="Arial"/>
              <a:buChar char="•"/>
            </a:pPr>
            <a:endParaRPr lang="en-GB" sz="1333"/>
          </a:p>
          <a:p>
            <a:pPr marL="285750" indent="-285750">
              <a:spcBef>
                <a:spcPts val="333"/>
              </a:spcBef>
              <a:buFont typeface="Arial"/>
              <a:buChar char="•"/>
            </a:pPr>
            <a:r>
              <a:rPr lang="en-GB" sz="1300"/>
              <a:t>Ontology </a:t>
            </a:r>
            <a:r>
              <a:rPr lang="en-GB" sz="1300" b="1"/>
              <a:t>availability</a:t>
            </a:r>
            <a:r>
              <a:rPr lang="en-GB" sz="1300"/>
              <a:t> (private; open access; publicly documented)</a:t>
            </a:r>
          </a:p>
          <a:p>
            <a:pPr marL="285750" indent="-285750">
              <a:spcBef>
                <a:spcPts val="333"/>
              </a:spcBef>
              <a:buFont typeface="Arial"/>
              <a:buChar char="•"/>
            </a:pPr>
            <a:r>
              <a:rPr lang="en-GB" sz="1300"/>
              <a:t>Ontology </a:t>
            </a:r>
            <a:r>
              <a:rPr lang="en-GB" sz="1300" b="1"/>
              <a:t>maintenance</a:t>
            </a:r>
            <a:r>
              <a:rPr lang="en-GB" sz="1300"/>
              <a:t> (up to date with standards)</a:t>
            </a:r>
          </a:p>
          <a:p>
            <a:pPr marL="285750" indent="-285750">
              <a:spcBef>
                <a:spcPts val="333"/>
              </a:spcBef>
              <a:buFont typeface="Arial"/>
              <a:buChar char="•"/>
            </a:pPr>
            <a:r>
              <a:rPr lang="en-GB" sz="1300"/>
              <a:t>Ontology </a:t>
            </a:r>
            <a:r>
              <a:rPr lang="en-GB" sz="1300" b="1"/>
              <a:t>reuse</a:t>
            </a:r>
            <a:r>
              <a:rPr lang="en-GB" sz="1300"/>
              <a:t> and </a:t>
            </a:r>
            <a:r>
              <a:rPr lang="en-GB" sz="1300" b="1"/>
              <a:t>alignment</a:t>
            </a:r>
            <a:r>
              <a:rPr lang="en-GB" sz="1300"/>
              <a:t> (many ontologies, what to reuse when and how)</a:t>
            </a:r>
          </a:p>
          <a:p>
            <a:pPr marL="285750" indent="-285750">
              <a:spcBef>
                <a:spcPts val="333"/>
              </a:spcBef>
              <a:buFont typeface="Arial"/>
              <a:buChar char="•"/>
            </a:pPr>
            <a:r>
              <a:rPr lang="en-GB" sz="1300"/>
              <a:t>Knowledge graph </a:t>
            </a:r>
            <a:r>
              <a:rPr lang="en-GB" sz="1300" b="1"/>
              <a:t>platform support </a:t>
            </a:r>
            <a:r>
              <a:rPr lang="en-GB" sz="1300"/>
              <a:t>(new technology; needs expert integration in legacy systems; lack of trust)</a:t>
            </a:r>
          </a:p>
          <a:p>
            <a:pPr marL="285750" indent="-285750">
              <a:spcBef>
                <a:spcPts val="333"/>
              </a:spcBef>
              <a:buFont typeface="Arial"/>
              <a:buChar char="•"/>
            </a:pPr>
            <a:endParaRPr lang="en-GB" sz="1333"/>
          </a:p>
          <a:p>
            <a:pPr marL="285750" indent="-285750">
              <a:spcBef>
                <a:spcPts val="333"/>
              </a:spcBef>
              <a:buFont typeface="Arial"/>
              <a:buChar char="•"/>
            </a:pPr>
            <a:r>
              <a:rPr lang="en-GB" sz="1300" b="1"/>
              <a:t>Contractual obligations </a:t>
            </a:r>
            <a:r>
              <a:rPr lang="en-GB" sz="1300"/>
              <a:t>for and from ICT procurers and manufacturers</a:t>
            </a:r>
          </a:p>
          <a:p>
            <a:pPr marL="285750" indent="-285750">
              <a:spcBef>
                <a:spcPts val="333"/>
              </a:spcBef>
              <a:buFont typeface="Arial"/>
              <a:buChar char="•"/>
            </a:pPr>
            <a:r>
              <a:rPr lang="en-GB" sz="1300"/>
              <a:t>Measuring the </a:t>
            </a:r>
            <a:r>
              <a:rPr lang="en-GB" sz="1300" b="1"/>
              <a:t>sustainability</a:t>
            </a:r>
            <a:r>
              <a:rPr lang="en-GB" sz="1300"/>
              <a:t> of an ICT device (standardising KPIs?)</a:t>
            </a:r>
          </a:p>
          <a:p>
            <a:pPr marL="285750" indent="-285750">
              <a:spcBef>
                <a:spcPts val="333"/>
              </a:spcBef>
              <a:buFont typeface="Arial"/>
              <a:buChar char="•"/>
            </a:pPr>
            <a:r>
              <a:rPr lang="en-GB" sz="1300"/>
              <a:t>Human </a:t>
            </a:r>
            <a:r>
              <a:rPr lang="en-GB" sz="1300" b="1"/>
              <a:t>perception</a:t>
            </a:r>
            <a:r>
              <a:rPr lang="en-GB" sz="1300"/>
              <a:t> of and </a:t>
            </a:r>
            <a:r>
              <a:rPr lang="en-GB" sz="1300" b="1"/>
              <a:t>behaviour</a:t>
            </a:r>
            <a:r>
              <a:rPr lang="en-GB" sz="1300"/>
              <a:t> towards (ICT) sustainability (see [3])</a:t>
            </a:r>
          </a:p>
          <a:p>
            <a:pPr>
              <a:spcBef>
                <a:spcPts val="333"/>
              </a:spcBef>
            </a:pPr>
            <a:endParaRPr lang="en-GB" sz="1333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81E88EA-B679-5A85-33D1-D789781581A2}"/>
              </a:ext>
            </a:extLst>
          </p:cNvPr>
          <p:cNvSpPr txBox="1"/>
          <p:nvPr/>
        </p:nvSpPr>
        <p:spPr>
          <a:xfrm>
            <a:off x="552943" y="323707"/>
            <a:ext cx="448813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0985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6197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295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2393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492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8590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66893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47878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800" b="1">
                <a:latin typeface="Arial Bold"/>
                <a:cs typeface="Arial Bold"/>
              </a:rPr>
              <a:t>Lessons Learned</a:t>
            </a:r>
          </a:p>
        </p:txBody>
      </p:sp>
    </p:spTree>
    <p:extLst>
      <p:ext uri="{BB962C8B-B14F-4D97-AF65-F5344CB8AC3E}">
        <p14:creationId xmlns:p14="http://schemas.microsoft.com/office/powerpoint/2010/main" val="285638664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E4399D-6777-B606-9BB9-3997A6F6296F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304800"/>
            <a:ext cx="8763000" cy="1104900"/>
          </a:xfrm>
        </p:spPr>
        <p:txBody>
          <a:bodyPr>
            <a:normAutofit/>
          </a:bodyPr>
          <a:lstStyle>
            <a:defPPr>
              <a:defRPr lang="en-US"/>
            </a:defPPr>
            <a:lvl1pPr marL="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0985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6197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295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2393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492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8590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66893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47878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800" b="1">
                <a:latin typeface="Arial Bold"/>
                <a:cs typeface="Arial Bold"/>
              </a:rPr>
              <a:t>Future Direc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CC5B08-054B-2E8E-FFFA-3DE97A2FF786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914400" y="1316038"/>
            <a:ext cx="9245600" cy="3986212"/>
          </a:xfrm>
        </p:spPr>
        <p:txBody>
          <a:bodyPr vert="horz" lIns="0" tIns="0" rIns="0" bIns="0" rtlCol="0" anchor="t">
            <a:normAutofit lnSpcReduction="10000"/>
          </a:bodyPr>
          <a:lstStyle>
            <a:defPPr>
              <a:defRPr lang="en-US"/>
            </a:defPPr>
            <a:lvl1pPr marL="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0985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6197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295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2393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492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8590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66893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47878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333" b="1"/>
              <a:t>Reuse and extend </a:t>
            </a:r>
            <a:r>
              <a:rPr lang="en-GB" sz="1333" b="1" err="1"/>
              <a:t>RePlanIT</a:t>
            </a:r>
            <a:r>
              <a:rPr lang="en-GB" sz="1333" b="1"/>
              <a:t> for other ICT devices (e.g. smartphones, TVs)</a:t>
            </a:r>
            <a:endParaRPr lang="en-GB" sz="1300" b="1"/>
          </a:p>
          <a:p>
            <a:pPr marL="380365" lvl="1">
              <a:buFont typeface="Arial" pitchFamily="2" charset="2"/>
              <a:buChar char="•"/>
            </a:pPr>
            <a:r>
              <a:rPr lang="en-GB" sz="1300"/>
              <a:t>Successful alignment and reuse of </a:t>
            </a:r>
            <a:r>
              <a:rPr lang="en-GB" sz="1300" err="1"/>
              <a:t>RePlanIT</a:t>
            </a:r>
            <a:r>
              <a:rPr lang="en-GB" sz="1300"/>
              <a:t> with FEDERATED and Catena-X ontologies for car batteries to help monitor the circular economy</a:t>
            </a:r>
          </a:p>
          <a:p>
            <a:pPr marL="380365" lvl="1">
              <a:buFont typeface="Arial" pitchFamily="2" charset="2"/>
              <a:buChar char="•"/>
            </a:pPr>
            <a:r>
              <a:rPr lang="en-GB" sz="1300"/>
              <a:t>Exploring the reuse of </a:t>
            </a:r>
            <a:r>
              <a:rPr lang="en-GB" sz="1300" err="1"/>
              <a:t>RePlanIT</a:t>
            </a:r>
            <a:r>
              <a:rPr lang="en-GB" sz="1300"/>
              <a:t> for solar panels (FAIR-PV project)</a:t>
            </a:r>
          </a:p>
          <a:p>
            <a:pPr marL="380365" lvl="1">
              <a:buFont typeface="Arial" pitchFamily="2" charset="2"/>
              <a:buChar char="•"/>
            </a:pPr>
            <a:endParaRPr lang="en-GB" sz="1333"/>
          </a:p>
          <a:p>
            <a:pPr marL="380365" lvl="1" indent="0">
              <a:buNone/>
            </a:pPr>
            <a:endParaRPr lang="en-GB" sz="1333"/>
          </a:p>
          <a:p>
            <a:r>
              <a:rPr lang="en-GB" sz="1333" b="1"/>
              <a:t>Towards standardisation of ontology for DPPs </a:t>
            </a:r>
            <a:endParaRPr lang="en-GB" sz="1300" b="1"/>
          </a:p>
          <a:p>
            <a:pPr marL="380365" lvl="1">
              <a:buFont typeface="Arial" pitchFamily="2" charset="2"/>
              <a:buChar char="•"/>
            </a:pPr>
            <a:r>
              <a:rPr lang="en-GB" sz="1333"/>
              <a:t>Collaboration with the NCDD working group on DPPs</a:t>
            </a:r>
            <a:endParaRPr lang="en-GB" sz="1300"/>
          </a:p>
          <a:p>
            <a:pPr marL="380365" lvl="1">
              <a:buFont typeface="Arial" pitchFamily="2" charset="2"/>
              <a:buChar char="•"/>
            </a:pPr>
            <a:r>
              <a:rPr lang="en-GB" sz="1300"/>
              <a:t>Collaboration with the CIRPASS-2 project on utilising </a:t>
            </a:r>
            <a:r>
              <a:rPr lang="en-GB" sz="1300" err="1"/>
              <a:t>RePlanIT</a:t>
            </a:r>
            <a:r>
              <a:rPr lang="en-GB" sz="1300"/>
              <a:t> as ICT DPP ontology standard</a:t>
            </a:r>
          </a:p>
          <a:p>
            <a:pPr marL="380365" lvl="1" indent="0">
              <a:buNone/>
            </a:pPr>
            <a:endParaRPr lang="en-GB" sz="1333"/>
          </a:p>
          <a:p>
            <a:pPr marL="380365" lvl="1" indent="0">
              <a:buNone/>
            </a:pPr>
            <a:endParaRPr lang="en-GB" sz="1333"/>
          </a:p>
          <a:p>
            <a:r>
              <a:rPr lang="en-GB" sz="1333" b="1"/>
              <a:t>Further investigation of not only AI for sustainability but also </a:t>
            </a:r>
            <a:r>
              <a:rPr lang="en-GB" sz="1333" b="1" i="1"/>
              <a:t>the </a:t>
            </a:r>
            <a:r>
              <a:rPr lang="en-GB" sz="1333" b="1" i="1" u="sng"/>
              <a:t>sustainability of AI</a:t>
            </a:r>
            <a:endParaRPr lang="en-GB" sz="1300" b="1" i="1" u="sng"/>
          </a:p>
          <a:p>
            <a:pPr marL="380365" lvl="1">
              <a:buFont typeface="Arial" pitchFamily="2" charset="2"/>
              <a:buChar char="•"/>
            </a:pPr>
            <a:r>
              <a:rPr lang="en-GB" sz="1333"/>
              <a:t>Cost of running and maintaining ML models</a:t>
            </a:r>
            <a:endParaRPr lang="en-GB" sz="1300"/>
          </a:p>
          <a:p>
            <a:pPr marL="380365" lvl="1">
              <a:buFont typeface="Arial" pitchFamily="2" charset="2"/>
              <a:buChar char="•"/>
            </a:pPr>
            <a:r>
              <a:rPr lang="en-GB" sz="1333"/>
              <a:t>Cost of storing data</a:t>
            </a:r>
            <a:endParaRPr lang="en-GB" sz="1300"/>
          </a:p>
          <a:p>
            <a:pPr marL="380365" lvl="1">
              <a:buFont typeface="Arial" pitchFamily="2" charset="2"/>
              <a:buChar char="•"/>
            </a:pPr>
            <a:r>
              <a:rPr lang="en-GB" sz="1333"/>
              <a:t>Consider if a task requires AI as a solution</a:t>
            </a:r>
            <a:endParaRPr lang="en-GB" sz="1300"/>
          </a:p>
          <a:p>
            <a:pPr marL="380365" lvl="1">
              <a:buFont typeface="Arial" pitchFamily="2" charset="2"/>
              <a:buChar char="•"/>
            </a:pPr>
            <a:endParaRPr lang="en-GB" sz="1333"/>
          </a:p>
          <a:p>
            <a:pPr marL="380365" lvl="1">
              <a:buFont typeface="Arial" pitchFamily="2" charset="2"/>
              <a:buChar char="•"/>
            </a:pPr>
            <a:endParaRPr lang="en-GB" sz="1333" b="1" i="1"/>
          </a:p>
        </p:txBody>
      </p:sp>
    </p:spTree>
    <p:extLst>
      <p:ext uri="{BB962C8B-B14F-4D97-AF65-F5344CB8AC3E}">
        <p14:creationId xmlns:p14="http://schemas.microsoft.com/office/powerpoint/2010/main" val="6905481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ijdelijke aanduiding voor tekst 46">
            <a:extLst>
              <a:ext uri="{FF2B5EF4-FFF2-40B4-BE49-F238E27FC236}">
                <a16:creationId xmlns:a16="http://schemas.microsoft.com/office/drawing/2014/main" id="{43B21ADF-AC91-4738-AAFA-9356794F93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solidFill>
            <a:srgbClr val="00A6D6"/>
          </a:solidFill>
        </p:spPr>
        <p:txBody>
          <a:bodyPr vert="horz" wrap="square" lIns="0" tIns="0" rIns="0" bIns="0" rtlCol="0" anchor="t">
            <a:noAutofit/>
          </a:bodyPr>
          <a:lstStyle>
            <a:defPPr>
              <a:defRPr lang="en-US"/>
            </a:defPPr>
            <a:lvl1pPr marL="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0985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6197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295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2393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492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8590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66893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47878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nl-NL">
                <a:solidFill>
                  <a:srgbClr val="FFFFFF"/>
                </a:solidFill>
              </a:rPr>
              <a:t> 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0519F502-C245-4036-9F1B-103CAB3587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defPPr>
              <a:defRPr lang="en-US"/>
            </a:defPPr>
            <a:lvl1pPr marL="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0985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6197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295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2393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492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8590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66893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47878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nl-NL" sz="3300" b="1" err="1">
                <a:solidFill>
                  <a:schemeClr val="bg1"/>
                </a:solidFill>
              </a:rPr>
              <a:t>Thank</a:t>
            </a:r>
            <a:r>
              <a:rPr lang="nl-NL" sz="3300" b="1">
                <a:solidFill>
                  <a:schemeClr val="bg1"/>
                </a:solidFill>
              </a:rPr>
              <a:t> </a:t>
            </a:r>
            <a:r>
              <a:rPr lang="nl-NL" sz="3300" b="1" err="1">
                <a:solidFill>
                  <a:schemeClr val="bg1"/>
                </a:solidFill>
              </a:rPr>
              <a:t>you</a:t>
            </a:r>
            <a:r>
              <a:rPr lang="nl-NL" sz="3300" b="1">
                <a:solidFill>
                  <a:schemeClr val="bg1"/>
                </a:solidFill>
              </a:rPr>
              <a:t>!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0911DDE-0D6E-3345-86FC-F1843DF61CE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36898" y="4619958"/>
            <a:ext cx="3107669" cy="591834"/>
          </a:xfrm>
        </p:spPr>
        <p:txBody>
          <a:bodyPr>
            <a:noAutofit/>
          </a:bodyPr>
          <a:lstStyle>
            <a:defPPr>
              <a:defRPr lang="en-US"/>
            </a:defPPr>
            <a:lvl1pPr marL="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0985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6197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295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2393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492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8590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66893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47878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GB" sz="1500" err="1">
                <a:solidFill>
                  <a:schemeClr val="bg1"/>
                </a:solidFill>
              </a:rPr>
              <a:t>Dr.</a:t>
            </a:r>
            <a:r>
              <a:rPr lang="en-GB" sz="1500">
                <a:solidFill>
                  <a:schemeClr val="bg1"/>
                </a:solidFill>
              </a:rPr>
              <a:t> Anelia </a:t>
            </a:r>
            <a:r>
              <a:rPr lang="en-GB" sz="1500" err="1">
                <a:solidFill>
                  <a:schemeClr val="bg1"/>
                </a:solidFill>
              </a:rPr>
              <a:t>Kurteva</a:t>
            </a:r>
            <a:endParaRPr lang="en-GB" sz="1500">
              <a:solidFill>
                <a:schemeClr val="bg1"/>
              </a:solidFill>
            </a:endParaRPr>
          </a:p>
          <a:p>
            <a:pPr algn="r"/>
            <a:r>
              <a:rPr lang="en-GB" sz="1500">
                <a:solidFill>
                  <a:schemeClr val="bg1"/>
                </a:solidFill>
              </a:rPr>
              <a:t>a.kurteva@tudelft.nl</a:t>
            </a:r>
          </a:p>
        </p:txBody>
      </p:sp>
    </p:spTree>
    <p:extLst>
      <p:ext uri="{BB962C8B-B14F-4D97-AF65-F5344CB8AC3E}">
        <p14:creationId xmlns:p14="http://schemas.microsoft.com/office/powerpoint/2010/main" val="1062321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32927EC4-9A1D-2DB3-11CA-82D0ADF0C292}"/>
              </a:ext>
            </a:extLst>
          </p:cNvPr>
          <p:cNvSpPr txBox="1"/>
          <p:nvPr/>
        </p:nvSpPr>
        <p:spPr>
          <a:xfrm>
            <a:off x="278760" y="1053636"/>
            <a:ext cx="9881241" cy="435792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0985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6197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295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2393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492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8590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66893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47878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en-GB" sz="1167">
                <a:cs typeface="Arial" panose="020B0604020202020204" pitchFamily="34" charset="0"/>
              </a:rPr>
              <a:t>[1]</a:t>
            </a:r>
            <a:r>
              <a:rPr lang="en-GB" sz="1167" u="none" strike="noStrike">
                <a:solidFill>
                  <a:srgbClr val="000000"/>
                </a:solidFill>
                <a:effectLst/>
                <a:cs typeface="Arial" panose="020B0604020202020204" pitchFamily="34" charset="0"/>
              </a:rPr>
              <a:t> J. van </a:t>
            </a:r>
            <a:r>
              <a:rPr lang="en-GB" sz="1167" u="none" strike="noStrike" err="1">
                <a:solidFill>
                  <a:srgbClr val="000000"/>
                </a:solidFill>
                <a:effectLst/>
                <a:cs typeface="Arial" panose="020B0604020202020204" pitchFamily="34" charset="0"/>
              </a:rPr>
              <a:t>Driel</a:t>
            </a:r>
            <a:r>
              <a:rPr lang="en-GB" sz="1167" u="none" strike="noStrike">
                <a:solidFill>
                  <a:srgbClr val="000000"/>
                </a:solidFill>
                <a:effectLst/>
                <a:cs typeface="Arial" panose="020B0604020202020204" pitchFamily="34" charset="0"/>
              </a:rPr>
              <a:t>. </a:t>
            </a:r>
            <a:r>
              <a:rPr lang="en-GB" sz="1167" u="none" strike="noStrike" err="1">
                <a:solidFill>
                  <a:srgbClr val="000000"/>
                </a:solidFill>
                <a:effectLst/>
                <a:cs typeface="Arial" panose="020B0604020202020204" pitchFamily="34" charset="0"/>
              </a:rPr>
              <a:t>Naar</a:t>
            </a:r>
            <a:r>
              <a:rPr lang="en-GB" sz="1167" u="none" strike="noStrike">
                <a:solidFill>
                  <a:srgbClr val="000000"/>
                </a:solidFill>
                <a:effectLst/>
                <a:cs typeface="Arial" panose="020B0604020202020204" pitchFamily="34" charset="0"/>
              </a:rPr>
              <a:t> </a:t>
            </a:r>
            <a:r>
              <a:rPr lang="en-GB" sz="1167" u="none" strike="noStrike" err="1">
                <a:solidFill>
                  <a:srgbClr val="000000"/>
                </a:solidFill>
                <a:effectLst/>
                <a:cs typeface="Arial" panose="020B0604020202020204" pitchFamily="34" charset="0"/>
              </a:rPr>
              <a:t>een</a:t>
            </a:r>
            <a:r>
              <a:rPr lang="en-GB" sz="1167" u="none" strike="noStrike">
                <a:solidFill>
                  <a:srgbClr val="000000"/>
                </a:solidFill>
                <a:effectLst/>
                <a:cs typeface="Arial" panose="020B0604020202020204" pitchFamily="34" charset="0"/>
              </a:rPr>
              <a:t> </a:t>
            </a:r>
            <a:r>
              <a:rPr lang="en-GB" sz="1167" u="none" strike="noStrike" err="1">
                <a:solidFill>
                  <a:srgbClr val="000000"/>
                </a:solidFill>
                <a:effectLst/>
                <a:cs typeface="Arial" panose="020B0604020202020204" pitchFamily="34" charset="0"/>
              </a:rPr>
              <a:t>circulaire</a:t>
            </a:r>
            <a:r>
              <a:rPr lang="en-GB" sz="1167" u="none" strike="noStrike">
                <a:solidFill>
                  <a:srgbClr val="000000"/>
                </a:solidFill>
                <a:effectLst/>
                <a:cs typeface="Arial" panose="020B0604020202020204" pitchFamily="34" charset="0"/>
              </a:rPr>
              <a:t> </a:t>
            </a:r>
            <a:r>
              <a:rPr lang="en-GB" sz="1167" u="none" strike="noStrike" err="1">
                <a:solidFill>
                  <a:srgbClr val="000000"/>
                </a:solidFill>
                <a:effectLst/>
                <a:cs typeface="Arial" panose="020B0604020202020204" pitchFamily="34" charset="0"/>
              </a:rPr>
              <a:t>keten</a:t>
            </a:r>
            <a:r>
              <a:rPr lang="en-GB" sz="1167" u="none" strike="noStrike">
                <a:solidFill>
                  <a:srgbClr val="000000"/>
                </a:solidFill>
                <a:effectLst/>
                <a:cs typeface="Arial" panose="020B0604020202020204" pitchFamily="34" charset="0"/>
              </a:rPr>
              <a:t> </a:t>
            </a:r>
            <a:r>
              <a:rPr lang="en-GB" sz="1167" u="none" strike="noStrike" err="1">
                <a:solidFill>
                  <a:srgbClr val="000000"/>
                </a:solidFill>
                <a:effectLst/>
                <a:cs typeface="Arial" panose="020B0604020202020204" pitchFamily="34" charset="0"/>
              </a:rPr>
              <a:t>voor</a:t>
            </a:r>
            <a:r>
              <a:rPr lang="en-GB" sz="1167" u="none" strike="noStrike">
                <a:solidFill>
                  <a:srgbClr val="000000"/>
                </a:solidFill>
                <a:effectLst/>
                <a:cs typeface="Arial" panose="020B0604020202020204" pitchFamily="34" charset="0"/>
              </a:rPr>
              <a:t> ICT-hardware [Towards a Circular Chain for ICT Hardware]. Available at </a:t>
            </a:r>
            <a:r>
              <a:rPr lang="en-GB" sz="1167" u="none" strike="noStrike">
                <a:solidFill>
                  <a:srgbClr val="000000"/>
                </a:solidFill>
                <a:effectLst/>
                <a:cs typeface="Arial" panose="020B0604020202020204" pitchFamily="34" charset="0"/>
                <a:hlinkClick r:id="rId2"/>
              </a:rPr>
              <a:t>https://usi.nl/wp-content/uploads/2021/02/Eindrapport-Naar-een-circulaire-keten-voor-ICT-def.pdf</a:t>
            </a:r>
            <a:r>
              <a:rPr lang="en-GB" sz="1167" u="none" strike="noStrike">
                <a:solidFill>
                  <a:srgbClr val="000000"/>
                </a:solidFill>
                <a:effectLst/>
                <a:cs typeface="Arial" panose="020B0604020202020204" pitchFamily="34" charset="0"/>
              </a:rPr>
              <a:t>,</a:t>
            </a:r>
            <a:r>
              <a:rPr lang="en-GB" sz="1167">
                <a:cs typeface="Arial" panose="020B0604020202020204" pitchFamily="34" charset="0"/>
              </a:rPr>
              <a:t> </a:t>
            </a:r>
            <a:r>
              <a:rPr lang="en-GB" sz="1167" u="none" strike="noStrike">
                <a:solidFill>
                  <a:srgbClr val="000000"/>
                </a:solidFill>
                <a:effectLst/>
                <a:cs typeface="Arial" panose="020B0604020202020204" pitchFamily="34" charset="0"/>
              </a:rPr>
              <a:t>2020. 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GB" sz="1167">
                <a:cs typeface="Arial" panose="020B0604020202020204" pitchFamily="34" charset="0"/>
              </a:rPr>
              <a:t>[2]</a:t>
            </a:r>
            <a:r>
              <a:rPr lang="en-GB" sz="1167" u="none" strike="noStrike">
                <a:effectLst/>
                <a:cs typeface="Arial" panose="020B0604020202020204" pitchFamily="34" charset="0"/>
              </a:rPr>
              <a:t> Conny Bakker,</a:t>
            </a:r>
            <a:r>
              <a:rPr lang="en-GB" sz="1167" strike="noStrike">
                <a:solidFill>
                  <a:srgbClr val="1F1F1F"/>
                </a:solidFill>
                <a:effectLst/>
                <a:cs typeface="Arial" panose="020B0604020202020204" pitchFamily="34" charset="0"/>
              </a:rPr>
              <a:t> </a:t>
            </a:r>
            <a:r>
              <a:rPr lang="en-GB" sz="1167" strike="noStrike">
                <a:effectLst/>
                <a:cs typeface="Arial" panose="020B0604020202020204" pitchFamily="34" charset="0"/>
              </a:rPr>
              <a:t>F. Wang</a:t>
            </a:r>
            <a:r>
              <a:rPr lang="en-GB" sz="1167" strike="noStrike">
                <a:solidFill>
                  <a:srgbClr val="1F1F1F"/>
                </a:solidFill>
                <a:effectLst/>
                <a:cs typeface="Arial" panose="020B0604020202020204" pitchFamily="34" charset="0"/>
              </a:rPr>
              <a:t>, </a:t>
            </a:r>
            <a:r>
              <a:rPr lang="en-GB" sz="1167">
                <a:effectLst/>
                <a:cs typeface="Arial" panose="020B0604020202020204" pitchFamily="34" charset="0"/>
              </a:rPr>
              <a:t>J. Huisman</a:t>
            </a:r>
            <a:r>
              <a:rPr lang="en-GB" sz="1167" strike="noStrike">
                <a:solidFill>
                  <a:srgbClr val="1F1F1F"/>
                </a:solidFill>
                <a:effectLst/>
                <a:cs typeface="Arial" panose="020B0604020202020204" pitchFamily="34" charset="0"/>
              </a:rPr>
              <a:t>, </a:t>
            </a:r>
            <a:r>
              <a:rPr lang="en-GB" sz="1167">
                <a:effectLst/>
                <a:cs typeface="Arial" panose="020B0604020202020204" pitchFamily="34" charset="0"/>
              </a:rPr>
              <a:t>M. den Hollander, </a:t>
            </a:r>
            <a:r>
              <a:rPr lang="en-GB" sz="1167" u="none" strike="noStrike">
                <a:effectLst/>
                <a:cs typeface="Arial" panose="020B0604020202020204" pitchFamily="34" charset="0"/>
              </a:rPr>
              <a:t>Products that go Round: Exploring Product Life Extension through Design, In: </a:t>
            </a:r>
            <a:r>
              <a:rPr lang="en-GB" sz="1167" i="1" u="none" strike="noStrike">
                <a:effectLst/>
                <a:cs typeface="Arial" panose="020B0604020202020204" pitchFamily="34" charset="0"/>
              </a:rPr>
              <a:t>Journal of Cleaner Production</a:t>
            </a:r>
            <a:r>
              <a:rPr lang="en-GB" sz="1167" u="none" strike="noStrike">
                <a:effectLst/>
                <a:cs typeface="Arial" panose="020B0604020202020204" pitchFamily="34" charset="0"/>
              </a:rPr>
              <a:t> 69, 2014, pp. 10–16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GB" sz="1167">
                <a:cs typeface="Arial" panose="020B0604020202020204" pitchFamily="34" charset="0"/>
              </a:rPr>
              <a:t>[3] </a:t>
            </a:r>
            <a:r>
              <a:rPr lang="en-GB" sz="1167">
                <a:effectLst/>
                <a:cs typeface="Arial" panose="020B0604020202020204" pitchFamily="34" charset="0"/>
              </a:rPr>
              <a:t>K. McMahon, H. E. J. and R. </a:t>
            </a:r>
            <a:r>
              <a:rPr lang="en-GB" sz="1167" err="1">
                <a:effectLst/>
                <a:cs typeface="Arial" panose="020B0604020202020204" pitchFamily="34" charset="0"/>
              </a:rPr>
              <a:t>Mugge</a:t>
            </a:r>
            <a:r>
              <a:rPr lang="en-GB" sz="1167">
                <a:effectLst/>
                <a:cs typeface="Arial" panose="020B0604020202020204" pitchFamily="34" charset="0"/>
              </a:rPr>
              <a:t>, Identifying Barriers and Enablers for Circular ICT Practices: An Exploratory </a:t>
            </a:r>
            <a:r>
              <a:rPr lang="en-GB" sz="1167">
                <a:cs typeface="Arial" panose="020B0604020202020204" pitchFamily="34" charset="0"/>
              </a:rPr>
              <a:t>S</a:t>
            </a:r>
            <a:r>
              <a:rPr lang="en-GB" sz="1167">
                <a:effectLst/>
                <a:cs typeface="Arial" panose="020B0604020202020204" pitchFamily="34" charset="0"/>
              </a:rPr>
              <a:t>tudy, </a:t>
            </a:r>
            <a:r>
              <a:rPr lang="en-GB" sz="1167">
                <a:cs typeface="Arial" panose="020B0604020202020204" pitchFamily="34" charset="0"/>
              </a:rPr>
              <a:t>I</a:t>
            </a:r>
            <a:r>
              <a:rPr lang="en-GB" sz="1167">
                <a:effectLst/>
                <a:cs typeface="Arial" panose="020B0604020202020204" pitchFamily="34" charset="0"/>
              </a:rPr>
              <a:t>n: </a:t>
            </a:r>
            <a:r>
              <a:rPr lang="en-GB" sz="1167" i="1">
                <a:effectLst/>
                <a:cs typeface="Arial" panose="020B0604020202020204" pitchFamily="34" charset="0"/>
              </a:rPr>
              <a:t>Product Lifetimes and the Environment (PLATE), </a:t>
            </a:r>
            <a:r>
              <a:rPr lang="en-GB" sz="1167">
                <a:effectLst/>
                <a:cs typeface="Arial" panose="020B0604020202020204" pitchFamily="34" charset="0"/>
              </a:rPr>
              <a:t>2023, In Press. 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GB" sz="1167">
                <a:effectLst/>
                <a:cs typeface="Arial" panose="020B0604020202020204" pitchFamily="34" charset="0"/>
              </a:rPr>
              <a:t>[4] A. </a:t>
            </a:r>
            <a:r>
              <a:rPr lang="en-GB" sz="1167" err="1">
                <a:effectLst/>
                <a:cs typeface="Arial" panose="020B0604020202020204" pitchFamily="34" charset="0"/>
              </a:rPr>
              <a:t>Kurteva</a:t>
            </a:r>
            <a:r>
              <a:rPr lang="en-GB" sz="1167">
                <a:cs typeface="Arial" panose="020B0604020202020204" pitchFamily="34" charset="0"/>
              </a:rPr>
              <a:t>, K. McMahon, A. </a:t>
            </a:r>
            <a:r>
              <a:rPr lang="en-GB" sz="1167" err="1">
                <a:cs typeface="Arial" panose="020B0604020202020204" pitchFamily="34" charset="0"/>
              </a:rPr>
              <a:t>Bozzon</a:t>
            </a:r>
            <a:r>
              <a:rPr lang="en-GB" sz="1167">
                <a:cs typeface="Arial" panose="020B0604020202020204" pitchFamily="34" charset="0"/>
              </a:rPr>
              <a:t>, R. </a:t>
            </a:r>
            <a:r>
              <a:rPr lang="en-GB" sz="1167" err="1">
                <a:cs typeface="Arial" panose="020B0604020202020204" pitchFamily="34" charset="0"/>
              </a:rPr>
              <a:t>Balkenende</a:t>
            </a:r>
            <a:r>
              <a:rPr lang="en-GB" sz="1167">
                <a:cs typeface="Arial" panose="020B0604020202020204" pitchFamily="34" charset="0"/>
              </a:rPr>
              <a:t>, Semantic Web and its Role in Facilitating ICT Data Sharing for the Circular Economy: An Ontology Survey, </a:t>
            </a:r>
            <a:r>
              <a:rPr lang="en-GB" sz="1167" i="1">
                <a:cs typeface="Arial" panose="020B0604020202020204" pitchFamily="34" charset="0"/>
              </a:rPr>
              <a:t>Semantic Web journal, </a:t>
            </a:r>
            <a:r>
              <a:rPr lang="en-GB" sz="1167">
                <a:cs typeface="Arial" panose="020B0604020202020204" pitchFamily="34" charset="0"/>
              </a:rPr>
              <a:t>2023, (In Review).</a:t>
            </a:r>
            <a:endParaRPr lang="en-GB" sz="1167">
              <a:effectLst/>
              <a:cs typeface="Arial" panose="020B0604020202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en-GB" sz="1167">
                <a:cs typeface="Arial" panose="020B0604020202020204" pitchFamily="34" charset="0"/>
              </a:rPr>
              <a:t>[5]</a:t>
            </a:r>
            <a:r>
              <a:rPr lang="en-GB" sz="1167">
                <a:effectLst/>
                <a:cs typeface="Arial" panose="020B0604020202020204" pitchFamily="34" charset="0"/>
              </a:rPr>
              <a:t> A. </a:t>
            </a:r>
            <a:r>
              <a:rPr lang="en-GB" sz="1167" err="1">
                <a:effectLst/>
                <a:cs typeface="Arial" panose="020B0604020202020204" pitchFamily="34" charset="0"/>
              </a:rPr>
              <a:t>Kurteva</a:t>
            </a:r>
            <a:r>
              <a:rPr lang="en-GB" sz="1167">
                <a:cs typeface="Arial" panose="020B0604020202020204" pitchFamily="34" charset="0"/>
              </a:rPr>
              <a:t>, C. van der </a:t>
            </a:r>
            <a:r>
              <a:rPr lang="en-GB" sz="1167" err="1">
                <a:cs typeface="Arial" panose="020B0604020202020204" pitchFamily="34" charset="0"/>
              </a:rPr>
              <a:t>Valk</a:t>
            </a:r>
            <a:r>
              <a:rPr lang="en-GB" sz="1167">
                <a:cs typeface="Arial" panose="020B0604020202020204" pitchFamily="34" charset="0"/>
              </a:rPr>
              <a:t>, K. McMahon, A. </a:t>
            </a:r>
            <a:r>
              <a:rPr lang="en-GB" sz="1167" err="1">
                <a:cs typeface="Arial" panose="020B0604020202020204" pitchFamily="34" charset="0"/>
              </a:rPr>
              <a:t>Bozzon</a:t>
            </a:r>
            <a:r>
              <a:rPr lang="en-GB" sz="1167">
                <a:cs typeface="Arial" panose="020B0604020202020204" pitchFamily="34" charset="0"/>
              </a:rPr>
              <a:t>, R. </a:t>
            </a:r>
            <a:r>
              <a:rPr lang="en-GB" sz="1167" err="1">
                <a:cs typeface="Arial" panose="020B0604020202020204" pitchFamily="34" charset="0"/>
              </a:rPr>
              <a:t>Balkenende</a:t>
            </a:r>
            <a:r>
              <a:rPr lang="en-GB" sz="1167">
                <a:cs typeface="Arial" panose="020B0604020202020204" pitchFamily="34" charset="0"/>
              </a:rPr>
              <a:t>, </a:t>
            </a:r>
            <a:r>
              <a:rPr lang="en-GB" sz="1167" u="none" strike="noStrike" err="1">
                <a:solidFill>
                  <a:srgbClr val="323232"/>
                </a:solidFill>
                <a:effectLst/>
                <a:cs typeface="Arial" panose="020B0604020202020204" pitchFamily="34" charset="0"/>
              </a:rPr>
              <a:t>RePlanIT</a:t>
            </a:r>
            <a:r>
              <a:rPr lang="en-GB" sz="1167" u="none" strike="noStrike">
                <a:solidFill>
                  <a:srgbClr val="323232"/>
                </a:solidFill>
                <a:effectLst/>
                <a:cs typeface="Arial" panose="020B0604020202020204" pitchFamily="34" charset="0"/>
              </a:rPr>
              <a:t> Ontology for FAIR Digital Product Passports of ICT: Laptops and Data Servers, </a:t>
            </a:r>
            <a:r>
              <a:rPr lang="en-GB" sz="1167" i="1">
                <a:cs typeface="Arial" panose="020B0604020202020204" pitchFamily="34" charset="0"/>
              </a:rPr>
              <a:t>Semantic Web journal, </a:t>
            </a:r>
            <a:r>
              <a:rPr lang="en-GB" sz="1167">
                <a:cs typeface="Arial" panose="020B0604020202020204" pitchFamily="34" charset="0"/>
              </a:rPr>
              <a:t>2024, (In Review)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GB" sz="1167">
                <a:solidFill>
                  <a:srgbClr val="323232"/>
                </a:solidFill>
                <a:cs typeface="Arial" panose="020B0604020202020204" pitchFamily="34" charset="0"/>
              </a:rPr>
              <a:t>[6] A. </a:t>
            </a:r>
            <a:r>
              <a:rPr lang="en-GB" sz="1167" b="0" i="0" u="none" strike="noStrike" err="1">
                <a:solidFill>
                  <a:srgbClr val="222222"/>
                </a:solidFill>
                <a:effectLst/>
              </a:rPr>
              <a:t>Kurteva</a:t>
            </a:r>
            <a:r>
              <a:rPr lang="en-GB" sz="1167" b="0" i="0" u="none" strike="noStrike">
                <a:solidFill>
                  <a:srgbClr val="222222"/>
                </a:solidFill>
                <a:effectLst/>
              </a:rPr>
              <a:t>, Towards FAIR ICT Data Sharing in the </a:t>
            </a:r>
            <a:r>
              <a:rPr lang="en-GB" sz="1167">
                <a:solidFill>
                  <a:srgbClr val="222222"/>
                </a:solidFill>
              </a:rPr>
              <a:t>C</a:t>
            </a:r>
            <a:r>
              <a:rPr lang="en-GB" sz="1167" b="0" i="0" u="none" strike="noStrike">
                <a:solidFill>
                  <a:srgbClr val="222222"/>
                </a:solidFill>
                <a:effectLst/>
              </a:rPr>
              <a:t>ircular </a:t>
            </a:r>
            <a:r>
              <a:rPr lang="en-GB" sz="1167">
                <a:solidFill>
                  <a:srgbClr val="222222"/>
                </a:solidFill>
              </a:rPr>
              <a:t>E</a:t>
            </a:r>
            <a:r>
              <a:rPr lang="en-GB" sz="1167" b="0" i="0" u="none" strike="noStrike">
                <a:solidFill>
                  <a:srgbClr val="222222"/>
                </a:solidFill>
                <a:effectLst/>
              </a:rPr>
              <a:t>conomy with Knowledge </a:t>
            </a:r>
            <a:r>
              <a:rPr lang="en-GB" sz="1167">
                <a:solidFill>
                  <a:srgbClr val="222222"/>
                </a:solidFill>
              </a:rPr>
              <a:t>G</a:t>
            </a:r>
            <a:r>
              <a:rPr lang="en-GB" sz="1167" b="0" i="0" u="none" strike="noStrike">
                <a:solidFill>
                  <a:srgbClr val="222222"/>
                </a:solidFill>
                <a:effectLst/>
              </a:rPr>
              <a:t>raphs, </a:t>
            </a:r>
            <a:r>
              <a:rPr lang="en-GB" sz="1167" b="0" i="1" u="none" strike="noStrike">
                <a:solidFill>
                  <a:srgbClr val="222222"/>
                </a:solidFill>
                <a:effectLst/>
              </a:rPr>
              <a:t>NWO ICT Open Conference, </a:t>
            </a:r>
            <a:r>
              <a:rPr lang="en-GB" sz="1167" b="0" i="0" u="none" strike="noStrike">
                <a:solidFill>
                  <a:srgbClr val="222222"/>
                </a:solidFill>
                <a:effectLst/>
              </a:rPr>
              <a:t>2023.</a:t>
            </a:r>
            <a:endParaRPr lang="en-GB" sz="1167">
              <a:solidFill>
                <a:srgbClr val="323232"/>
              </a:solidFill>
              <a:cs typeface="Arial" panose="020B0604020202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en-GB" sz="1167" u="none" strike="noStrike">
                <a:solidFill>
                  <a:srgbClr val="323232"/>
                </a:solidFill>
                <a:effectLst/>
                <a:cs typeface="Arial" panose="020B0604020202020204" pitchFamily="34" charset="0"/>
              </a:rPr>
              <a:t>[7] T. R. </a:t>
            </a:r>
            <a:r>
              <a:rPr lang="en-GB" sz="1167" b="0" i="0" u="none" strike="noStrike">
                <a:solidFill>
                  <a:srgbClr val="222222"/>
                </a:solidFill>
                <a:effectLst/>
              </a:rPr>
              <a:t>Chhetri, A. </a:t>
            </a:r>
            <a:r>
              <a:rPr lang="en-GB" sz="1167" b="0" i="0" u="none" strike="noStrike" err="1">
                <a:solidFill>
                  <a:srgbClr val="222222"/>
                </a:solidFill>
                <a:effectLst/>
              </a:rPr>
              <a:t>Kurteva</a:t>
            </a:r>
            <a:r>
              <a:rPr lang="en-GB" sz="1167" b="0" i="0" u="none" strike="noStrike">
                <a:solidFill>
                  <a:srgbClr val="222222"/>
                </a:solidFill>
                <a:effectLst/>
              </a:rPr>
              <a:t>, J. G. Adigun, A. </a:t>
            </a:r>
            <a:r>
              <a:rPr lang="en-GB" sz="1167" b="0" i="0" u="none" strike="noStrike" err="1">
                <a:solidFill>
                  <a:srgbClr val="222222"/>
                </a:solidFill>
                <a:effectLst/>
              </a:rPr>
              <a:t>Fensel</a:t>
            </a:r>
            <a:r>
              <a:rPr lang="en-GB" sz="1167" b="0" i="0" u="none" strike="noStrike">
                <a:solidFill>
                  <a:srgbClr val="222222"/>
                </a:solidFill>
                <a:effectLst/>
              </a:rPr>
              <a:t>,  Knowledge Graph </a:t>
            </a:r>
            <a:r>
              <a:rPr lang="en-GB" sz="1167">
                <a:solidFill>
                  <a:srgbClr val="222222"/>
                </a:solidFill>
              </a:rPr>
              <a:t>B</a:t>
            </a:r>
            <a:r>
              <a:rPr lang="en-GB" sz="1167" b="0" i="0" u="none" strike="noStrike">
                <a:solidFill>
                  <a:srgbClr val="222222"/>
                </a:solidFill>
                <a:effectLst/>
              </a:rPr>
              <a:t>ased </a:t>
            </a:r>
            <a:r>
              <a:rPr lang="en-GB" sz="1167">
                <a:solidFill>
                  <a:srgbClr val="222222"/>
                </a:solidFill>
              </a:rPr>
              <a:t>H</a:t>
            </a:r>
            <a:r>
              <a:rPr lang="en-GB" sz="1167" b="0" i="0" u="none" strike="noStrike">
                <a:solidFill>
                  <a:srgbClr val="222222"/>
                </a:solidFill>
                <a:effectLst/>
              </a:rPr>
              <a:t>ard </a:t>
            </a:r>
            <a:r>
              <a:rPr lang="en-GB" sz="1167">
                <a:solidFill>
                  <a:srgbClr val="222222"/>
                </a:solidFill>
              </a:rPr>
              <a:t>D</a:t>
            </a:r>
            <a:r>
              <a:rPr lang="en-GB" sz="1167" b="0" i="0" u="none" strike="noStrike">
                <a:solidFill>
                  <a:srgbClr val="222222"/>
                </a:solidFill>
                <a:effectLst/>
              </a:rPr>
              <a:t>rive </a:t>
            </a:r>
            <a:r>
              <a:rPr lang="en-GB" sz="1167">
                <a:solidFill>
                  <a:srgbClr val="222222"/>
                </a:solidFill>
              </a:rPr>
              <a:t>F</a:t>
            </a:r>
            <a:r>
              <a:rPr lang="en-GB" sz="1167" b="0" i="0" u="none" strike="noStrike">
                <a:solidFill>
                  <a:srgbClr val="222222"/>
                </a:solidFill>
                <a:effectLst/>
              </a:rPr>
              <a:t>ailure Prediction. </a:t>
            </a:r>
            <a:r>
              <a:rPr lang="en-GB" sz="1167" b="0" i="1" u="none" strike="noStrike">
                <a:solidFill>
                  <a:srgbClr val="222222"/>
                </a:solidFill>
                <a:effectLst/>
              </a:rPr>
              <a:t>Sensors</a:t>
            </a:r>
            <a:r>
              <a:rPr lang="en-GB" sz="1167" b="0" i="0" u="none" strike="noStrike">
                <a:solidFill>
                  <a:srgbClr val="222222"/>
                </a:solidFill>
                <a:effectLst/>
              </a:rPr>
              <a:t>, </a:t>
            </a:r>
            <a:r>
              <a:rPr lang="en-GB" sz="1167" b="0" i="1" u="none" strike="noStrike">
                <a:solidFill>
                  <a:srgbClr val="222222"/>
                </a:solidFill>
                <a:effectLst/>
              </a:rPr>
              <a:t>22</a:t>
            </a:r>
            <a:r>
              <a:rPr lang="en-GB" sz="1167" b="0" i="0" u="none" strike="noStrike">
                <a:solidFill>
                  <a:srgbClr val="222222"/>
                </a:solidFill>
                <a:effectLst/>
              </a:rPr>
              <a:t>(3), 985, 2022.</a:t>
            </a:r>
          </a:p>
          <a:p>
            <a:pPr>
              <a:lnSpc>
                <a:spcPct val="150000"/>
              </a:lnSpc>
            </a:pPr>
            <a:r>
              <a:rPr lang="en-GB" sz="1167">
                <a:solidFill>
                  <a:srgbClr val="222222"/>
                </a:solidFill>
                <a:cs typeface="Arial" panose="020B0604020202020204" pitchFamily="34" charset="0"/>
              </a:rPr>
              <a:t>[8] D. </a:t>
            </a:r>
            <a:r>
              <a:rPr lang="en-GB" sz="1167" err="1">
                <a:solidFill>
                  <a:srgbClr val="222222"/>
                </a:solidFill>
                <a:cs typeface="Arial" panose="020B0604020202020204" pitchFamily="34" charset="0"/>
              </a:rPr>
              <a:t>Fensel</a:t>
            </a:r>
            <a:r>
              <a:rPr lang="en-GB" sz="1167">
                <a:solidFill>
                  <a:srgbClr val="222222"/>
                </a:solidFill>
                <a:cs typeface="Arial" panose="020B0604020202020204" pitchFamily="34" charset="0"/>
              </a:rPr>
              <a:t>, U. </a:t>
            </a:r>
            <a:r>
              <a:rPr lang="en-GB" sz="1167" err="1">
                <a:solidFill>
                  <a:srgbClr val="222222"/>
                </a:solidFill>
                <a:cs typeface="Arial" panose="020B0604020202020204" pitchFamily="34" charset="0"/>
              </a:rPr>
              <a:t>Şimşek</a:t>
            </a:r>
            <a:r>
              <a:rPr lang="en-GB" sz="1167">
                <a:solidFill>
                  <a:srgbClr val="222222"/>
                </a:solidFill>
                <a:cs typeface="Arial" panose="020B0604020202020204" pitchFamily="34" charset="0"/>
              </a:rPr>
              <a:t>, K. Angele, E. </a:t>
            </a:r>
            <a:r>
              <a:rPr lang="en-GB" sz="1167" err="1">
                <a:solidFill>
                  <a:srgbClr val="222222"/>
                </a:solidFill>
                <a:cs typeface="Arial" panose="020B0604020202020204" pitchFamily="34" charset="0"/>
              </a:rPr>
              <a:t>Huaman</a:t>
            </a:r>
            <a:r>
              <a:rPr lang="en-GB" sz="1167">
                <a:solidFill>
                  <a:srgbClr val="222222"/>
                </a:solidFill>
                <a:cs typeface="Arial" panose="020B0604020202020204" pitchFamily="34" charset="0"/>
              </a:rPr>
              <a:t>, E. </a:t>
            </a:r>
            <a:r>
              <a:rPr lang="en-GB" sz="1167" err="1">
                <a:solidFill>
                  <a:srgbClr val="222222"/>
                </a:solidFill>
                <a:cs typeface="Arial" panose="020B0604020202020204" pitchFamily="34" charset="0"/>
              </a:rPr>
              <a:t>Kärle</a:t>
            </a:r>
            <a:r>
              <a:rPr lang="en-GB" sz="1167">
                <a:solidFill>
                  <a:srgbClr val="222222"/>
                </a:solidFill>
                <a:cs typeface="Arial" panose="020B0604020202020204" pitchFamily="34" charset="0"/>
              </a:rPr>
              <a:t>, O. </a:t>
            </a:r>
            <a:r>
              <a:rPr lang="en-GB" sz="1167" err="1">
                <a:solidFill>
                  <a:srgbClr val="222222"/>
                </a:solidFill>
                <a:cs typeface="Arial" panose="020B0604020202020204" pitchFamily="34" charset="0"/>
              </a:rPr>
              <a:t>Panasiuk</a:t>
            </a:r>
            <a:r>
              <a:rPr lang="en-GB" sz="1167">
                <a:solidFill>
                  <a:srgbClr val="222222"/>
                </a:solidFill>
                <a:cs typeface="Arial" panose="020B0604020202020204" pitchFamily="34" charset="0"/>
              </a:rPr>
              <a:t>, I. Toma et al. Introduction: what is a knowledge graph?. Knowledge graphs: Methodology, tools and selected use cases (2020): 1-10. Springer. ISBN : 978-3-030-37438-9.</a:t>
            </a:r>
            <a:endParaRPr lang="en-GB" sz="1167">
              <a:effectLst/>
              <a:cs typeface="Arial" panose="020B0604020202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endParaRPr lang="en-GB" sz="1167">
              <a:cs typeface="Arial" panose="020B0604020202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endParaRPr lang="en-GB" sz="1167">
              <a:cs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B102BF2-0E6E-8A61-81A4-90A8DCFBD9E9}"/>
              </a:ext>
            </a:extLst>
          </p:cNvPr>
          <p:cNvSpPr txBox="1"/>
          <p:nvPr/>
        </p:nvSpPr>
        <p:spPr>
          <a:xfrm>
            <a:off x="267542" y="436486"/>
            <a:ext cx="3050069" cy="6159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0985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6197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295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2393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492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8590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66893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47878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3333" b="1">
                <a:latin typeface="+mj-lt"/>
              </a:rPr>
              <a:t>References</a:t>
            </a:r>
          </a:p>
        </p:txBody>
      </p:sp>
      <p:pic>
        <p:nvPicPr>
          <p:cNvPr id="6" name="Picture Placeholder 16">
            <a:extLst>
              <a:ext uri="{FF2B5EF4-FFF2-40B4-BE49-F238E27FC236}">
                <a16:creationId xmlns:a16="http://schemas.microsoft.com/office/drawing/2014/main" id="{180AC933-EACC-FE66-EFE6-F5CE4EFB75A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56" r="5356"/>
          <a:stretch>
            <a:fillRect/>
          </a:stretch>
        </p:blipFill>
        <p:spPr>
          <a:xfrm>
            <a:off x="102943" y="4905253"/>
            <a:ext cx="1392660" cy="783410"/>
          </a:xfrm>
          <a:prstGeom prst="rect">
            <a:avLst/>
          </a:prstGeom>
          <a:noFill/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844CCDB-C2AD-18C9-4C8A-7738BACC99DE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0"/>
            <a:ext cx="0" cy="0"/>
          </a:xfrm>
        </p:spPr>
        <p:txBody>
          <a:bodyPr/>
          <a:lstStyle>
            <a:defPPr>
              <a:defRPr lang="en-US"/>
            </a:defPPr>
            <a:lvl1pPr marL="0" algn="l" defTabSz="634950" rtl="0" eaLnBrk="1" latinLnBrk="0" hangingPunct="1">
              <a:defRPr sz="12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17475" algn="l" defTabSz="634950" rtl="0" eaLnBrk="1" latinLnBrk="0" hangingPunct="1">
              <a:defRPr sz="12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34950" algn="l" defTabSz="634950" rtl="0" eaLnBrk="1" latinLnBrk="0" hangingPunct="1">
              <a:defRPr sz="12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52424" algn="l" defTabSz="634950" rtl="0" eaLnBrk="1" latinLnBrk="0" hangingPunct="1">
              <a:defRPr sz="12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69898" algn="l" defTabSz="634950" rtl="0" eaLnBrk="1" latinLnBrk="0" hangingPunct="1">
              <a:defRPr sz="12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87373" algn="l" defTabSz="634950" rtl="0" eaLnBrk="1" latinLnBrk="0" hangingPunct="1">
              <a:defRPr sz="12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04848" algn="l" defTabSz="634950" rtl="0" eaLnBrk="1" latinLnBrk="0" hangingPunct="1">
              <a:defRPr sz="12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22322" algn="l" defTabSz="634950" rtl="0" eaLnBrk="1" latinLnBrk="0" hangingPunct="1">
              <a:defRPr sz="12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39797" algn="l" defTabSz="634950" rtl="0" eaLnBrk="1" latinLnBrk="0" hangingPunct="1">
              <a:defRPr sz="12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76F4739-FFB9-3248-BC85-56DD7692BAB8}" type="slidenum">
              <a:rPr lang="en-GB" smtClean="0"/>
              <a:t>2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7674744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7C789D54-EDFC-3D6D-F3ED-DEBDA5A40FCE}"/>
              </a:ext>
            </a:extLst>
          </p:cNvPr>
          <p:cNvSpPr/>
          <p:nvPr/>
        </p:nvSpPr>
        <p:spPr>
          <a:xfrm>
            <a:off x="5889733" y="0"/>
            <a:ext cx="4270267" cy="5715000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61970">
              <a:defRPr/>
            </a:pPr>
            <a:endParaRPr lang="en-NL" sz="1000">
              <a:solidFill>
                <a:prstClr val="white"/>
              </a:solidFill>
              <a:latin typeface="Hind" panose="02000000000000000000" pitchFamily="2" charset="0"/>
              <a:cs typeface="Hind" panose="02000000000000000000" pitchFamily="2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AF3E883-0854-57C4-7A02-E3B2F0B468A8}"/>
              </a:ext>
            </a:extLst>
          </p:cNvPr>
          <p:cNvSpPr txBox="1"/>
          <p:nvPr/>
        </p:nvSpPr>
        <p:spPr>
          <a:xfrm>
            <a:off x="418762" y="1578118"/>
            <a:ext cx="5127517" cy="8617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761970">
              <a:defRPr/>
            </a:pPr>
            <a:r>
              <a:rPr lang="en-GB" sz="5000">
                <a:solidFill>
                  <a:srgbClr val="262626"/>
                </a:solidFill>
                <a:latin typeface="Anton"/>
              </a:rPr>
              <a:t>TRUE PRICE OF DATA </a:t>
            </a:r>
            <a:endParaRPr lang="en-NL" sz="5000">
              <a:solidFill>
                <a:srgbClr val="262626"/>
              </a:solidFill>
              <a:latin typeface="Hind"/>
            </a:endParaRPr>
          </a:p>
        </p:txBody>
      </p:sp>
      <p:sp>
        <p:nvSpPr>
          <p:cNvPr id="11" name="TextBox 12">
            <a:extLst>
              <a:ext uri="{FF2B5EF4-FFF2-40B4-BE49-F238E27FC236}">
                <a16:creationId xmlns:a16="http://schemas.microsoft.com/office/drawing/2014/main" id="{92F17121-7F3D-0F6E-FD86-D9FDB74A1B3C}"/>
              </a:ext>
            </a:extLst>
          </p:cNvPr>
          <p:cNvSpPr txBox="1"/>
          <p:nvPr/>
        </p:nvSpPr>
        <p:spPr>
          <a:xfrm>
            <a:off x="484154" y="4378883"/>
            <a:ext cx="3523402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761970">
              <a:defRPr/>
            </a:pPr>
            <a:r>
              <a:rPr lang="en-US" sz="1500" b="1">
                <a:solidFill>
                  <a:srgbClr val="262626"/>
                </a:solidFill>
                <a:latin typeface="Hind" panose="02000000000000000000" pitchFamily="2" charset="77"/>
                <a:cs typeface="Hind" panose="02000000000000000000" pitchFamily="2" charset="77"/>
              </a:rPr>
              <a:t>Menno van Leeuwen, Impact innovator</a:t>
            </a:r>
          </a:p>
        </p:txBody>
      </p:sp>
      <p:sp>
        <p:nvSpPr>
          <p:cNvPr id="12" name="TextBox 12">
            <a:extLst>
              <a:ext uri="{FF2B5EF4-FFF2-40B4-BE49-F238E27FC236}">
                <a16:creationId xmlns:a16="http://schemas.microsoft.com/office/drawing/2014/main" id="{56D22592-5775-9802-4831-690E0C2030E1}"/>
              </a:ext>
            </a:extLst>
          </p:cNvPr>
          <p:cNvSpPr txBox="1"/>
          <p:nvPr/>
        </p:nvSpPr>
        <p:spPr>
          <a:xfrm>
            <a:off x="517937" y="4705189"/>
            <a:ext cx="1426383" cy="51308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761970">
              <a:defRPr/>
            </a:pPr>
            <a:endParaRPr lang="en-GB" sz="1667">
              <a:solidFill>
                <a:srgbClr val="262626"/>
              </a:solidFill>
              <a:latin typeface="Hind" panose="02000000000000000000" pitchFamily="2" charset="77"/>
              <a:cs typeface="Hind" panose="02000000000000000000" pitchFamily="2" charset="77"/>
            </a:endParaRPr>
          </a:p>
          <a:p>
            <a:pPr defTabSz="761970">
              <a:defRPr/>
            </a:pPr>
            <a:r>
              <a:rPr lang="en-GB" sz="1667">
                <a:solidFill>
                  <a:srgbClr val="262626"/>
                </a:solidFill>
                <a:latin typeface="Hind" panose="02000000000000000000" pitchFamily="2" charset="77"/>
                <a:cs typeface="Hind" panose="02000000000000000000" pitchFamily="2" charset="77"/>
              </a:rPr>
              <a:t>03.07.2024</a:t>
            </a:r>
          </a:p>
        </p:txBody>
      </p:sp>
      <p:sp>
        <p:nvSpPr>
          <p:cNvPr id="3" name="TextBox 12">
            <a:extLst>
              <a:ext uri="{FF2B5EF4-FFF2-40B4-BE49-F238E27FC236}">
                <a16:creationId xmlns:a16="http://schemas.microsoft.com/office/drawing/2014/main" id="{2FA0002E-585B-77FE-9D7F-02CE785FE525}"/>
              </a:ext>
            </a:extLst>
          </p:cNvPr>
          <p:cNvSpPr txBox="1"/>
          <p:nvPr/>
        </p:nvSpPr>
        <p:spPr>
          <a:xfrm>
            <a:off x="484154" y="2565523"/>
            <a:ext cx="5473960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761970">
              <a:defRPr/>
            </a:pPr>
            <a:r>
              <a:rPr lang="en-GB" sz="2000">
                <a:solidFill>
                  <a:srgbClr val="262626"/>
                </a:solidFill>
                <a:latin typeface="Hind" panose="02000000000000000000" pitchFamily="2" charset="77"/>
                <a:cs typeface="Hind" panose="02000000000000000000" pitchFamily="2" charset="77"/>
              </a:rPr>
              <a:t>For informed decision making, </a:t>
            </a:r>
          </a:p>
          <a:p>
            <a:pPr defTabSz="761970">
              <a:defRPr/>
            </a:pPr>
            <a:r>
              <a:rPr lang="en-GB" sz="2000">
                <a:solidFill>
                  <a:srgbClr val="262626"/>
                </a:solidFill>
                <a:latin typeface="Hind" panose="02000000000000000000" pitchFamily="2" charset="77"/>
                <a:cs typeface="Hind" panose="02000000000000000000" pitchFamily="2" charset="77"/>
              </a:rPr>
              <a:t>towards ‘</a:t>
            </a:r>
            <a:r>
              <a:rPr lang="en-GB" sz="2000" err="1">
                <a:solidFill>
                  <a:srgbClr val="262626"/>
                </a:solidFill>
                <a:latin typeface="Hind" panose="02000000000000000000" pitchFamily="2" charset="77"/>
                <a:cs typeface="Hind" panose="02000000000000000000" pitchFamily="2" charset="77"/>
              </a:rPr>
              <a:t>Zirrow</a:t>
            </a:r>
            <a:r>
              <a:rPr lang="en-GB" sz="2000">
                <a:solidFill>
                  <a:srgbClr val="262626"/>
                </a:solidFill>
                <a:latin typeface="Hind" panose="02000000000000000000" pitchFamily="2" charset="77"/>
                <a:cs typeface="Hind" panose="02000000000000000000" pitchFamily="2" charset="77"/>
              </a:rPr>
              <a:t>’ waste</a:t>
            </a: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075029FE-C55A-D56A-C3F5-58213F796C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727" y="198167"/>
            <a:ext cx="2175743" cy="9071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Afbeelding 1" descr="Afbeelding met Lettertype, Graphics, schermopname, grafische vormgeving&#10;&#10;Automatisch gegenereerde beschrijving">
            <a:extLst>
              <a:ext uri="{FF2B5EF4-FFF2-40B4-BE49-F238E27FC236}">
                <a16:creationId xmlns:a16="http://schemas.microsoft.com/office/drawing/2014/main" id="{3A5D56EB-7C02-196B-E674-3E79668AFF4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33187" y="4851715"/>
            <a:ext cx="963844" cy="507359"/>
          </a:xfrm>
          <a:prstGeom prst="rect">
            <a:avLst/>
          </a:prstGeom>
        </p:spPr>
      </p:pic>
      <p:pic>
        <p:nvPicPr>
          <p:cNvPr id="7" name="Afbeelding 6">
            <a:extLst>
              <a:ext uri="{FF2B5EF4-FFF2-40B4-BE49-F238E27FC236}">
                <a16:creationId xmlns:a16="http://schemas.microsoft.com/office/drawing/2014/main" id="{1D616109-D8BE-6EBC-3FA4-BB963434501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99715" y="4916533"/>
            <a:ext cx="859577" cy="400207"/>
          </a:xfrm>
          <a:prstGeom prst="rect">
            <a:avLst/>
          </a:prstGeom>
        </p:spPr>
      </p:pic>
      <p:pic>
        <p:nvPicPr>
          <p:cNvPr id="14" name="Afbeelding 13">
            <a:extLst>
              <a:ext uri="{FF2B5EF4-FFF2-40B4-BE49-F238E27FC236}">
                <a16:creationId xmlns:a16="http://schemas.microsoft.com/office/drawing/2014/main" id="{8AD0B56C-02F5-3829-FC54-122EAF19909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415212" y="5116637"/>
            <a:ext cx="1027601" cy="220585"/>
          </a:xfrm>
          <a:prstGeom prst="rect">
            <a:avLst/>
          </a:prstGeom>
        </p:spPr>
      </p:pic>
      <p:pic>
        <p:nvPicPr>
          <p:cNvPr id="16" name="Picture 5" descr="A black and orange logo&#10;&#10;Description automatically generated">
            <a:extLst>
              <a:ext uri="{FF2B5EF4-FFF2-40B4-BE49-F238E27FC236}">
                <a16:creationId xmlns:a16="http://schemas.microsoft.com/office/drawing/2014/main" id="{E1BCC2E1-DEFC-8EC9-7F7C-FE60F0F0E8BF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44541" y="4961733"/>
            <a:ext cx="1060164" cy="4043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23756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person standing in front of a body of water&#10;&#10;Description automatically generated">
            <a:extLst>
              <a:ext uri="{FF2B5EF4-FFF2-40B4-BE49-F238E27FC236}">
                <a16:creationId xmlns:a16="http://schemas.microsoft.com/office/drawing/2014/main" id="{1BC3D6E9-12C6-DBA9-FE0A-3688A7CD500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76" t="18889"/>
          <a:stretch/>
        </p:blipFill>
        <p:spPr>
          <a:xfrm>
            <a:off x="5991179" y="1054327"/>
            <a:ext cx="3510100" cy="3814272"/>
          </a:xfrm>
          <a:prstGeom prst="rect">
            <a:avLst/>
          </a:prstGeom>
        </p:spPr>
      </p:pic>
      <p:sp>
        <p:nvSpPr>
          <p:cNvPr id="5" name="Oval 4">
            <a:extLst>
              <a:ext uri="{FF2B5EF4-FFF2-40B4-BE49-F238E27FC236}">
                <a16:creationId xmlns:a16="http://schemas.microsoft.com/office/drawing/2014/main" id="{B2D0F496-A485-A922-BBA4-6F42683B2CF9}"/>
              </a:ext>
            </a:extLst>
          </p:cNvPr>
          <p:cNvSpPr/>
          <p:nvPr/>
        </p:nvSpPr>
        <p:spPr>
          <a:xfrm>
            <a:off x="658721" y="1549742"/>
            <a:ext cx="779525" cy="779525"/>
          </a:xfrm>
          <a:prstGeom prst="ellipse">
            <a:avLst/>
          </a:prstGeom>
          <a:solidFill>
            <a:srgbClr val="EFF2E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80985">
              <a:defRPr/>
            </a:pPr>
            <a:endParaRPr lang="en-NL" sz="1500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93769118-66C2-5D58-D676-C751EAD55C19}"/>
              </a:ext>
            </a:extLst>
          </p:cNvPr>
          <p:cNvSpPr/>
          <p:nvPr/>
        </p:nvSpPr>
        <p:spPr>
          <a:xfrm>
            <a:off x="658721" y="2478034"/>
            <a:ext cx="779525" cy="779525"/>
          </a:xfrm>
          <a:prstGeom prst="ellipse">
            <a:avLst/>
          </a:prstGeom>
          <a:solidFill>
            <a:srgbClr val="EFF2E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80985">
              <a:defRPr/>
            </a:pPr>
            <a:endParaRPr lang="en-NL" sz="1500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D13A749A-FE64-F900-7D87-CC562C96B3F6}"/>
              </a:ext>
            </a:extLst>
          </p:cNvPr>
          <p:cNvSpPr/>
          <p:nvPr/>
        </p:nvSpPr>
        <p:spPr>
          <a:xfrm>
            <a:off x="658721" y="3406327"/>
            <a:ext cx="779525" cy="779525"/>
          </a:xfrm>
          <a:prstGeom prst="ellipse">
            <a:avLst/>
          </a:prstGeom>
          <a:solidFill>
            <a:srgbClr val="EFF2E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80985">
              <a:defRPr/>
            </a:pPr>
            <a:endParaRPr lang="en-NL" sz="1500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8EBED3F-2B43-FFF6-8C60-7C6E56DF8214}"/>
              </a:ext>
            </a:extLst>
          </p:cNvPr>
          <p:cNvSpPr txBox="1"/>
          <p:nvPr/>
        </p:nvSpPr>
        <p:spPr>
          <a:xfrm>
            <a:off x="1155613" y="1391513"/>
            <a:ext cx="5246445" cy="261610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380985">
              <a:lnSpc>
                <a:spcPct val="300000"/>
              </a:lnSpc>
              <a:defRPr/>
            </a:pPr>
            <a:r>
              <a:rPr lang="nl-NL" sz="2000" b="1">
                <a:solidFill>
                  <a:prstClr val="black">
                    <a:lumMod val="75000"/>
                    <a:lumOff val="25000"/>
                  </a:prstClr>
                </a:solidFill>
                <a:latin typeface="Hind"/>
                <a:cs typeface="Hind"/>
              </a:rPr>
              <a:t>&gt; 25 jaar corporate &amp; </a:t>
            </a:r>
            <a:r>
              <a:rPr lang="nl-NL" sz="2000" b="1" err="1">
                <a:solidFill>
                  <a:prstClr val="black">
                    <a:lumMod val="75000"/>
                    <a:lumOff val="25000"/>
                  </a:prstClr>
                </a:solidFill>
                <a:latin typeface="Hind"/>
                <a:cs typeface="Hind"/>
              </a:rPr>
              <a:t>scale</a:t>
            </a:r>
            <a:r>
              <a:rPr lang="nl-NL" sz="2000" b="1">
                <a:solidFill>
                  <a:prstClr val="black">
                    <a:lumMod val="75000"/>
                    <a:lumOff val="25000"/>
                  </a:prstClr>
                </a:solidFill>
                <a:latin typeface="Hind"/>
                <a:cs typeface="Hind"/>
              </a:rPr>
              <a:t>-up ervaring</a:t>
            </a:r>
          </a:p>
          <a:p>
            <a:pPr defTabSz="380985">
              <a:lnSpc>
                <a:spcPct val="300000"/>
              </a:lnSpc>
              <a:defRPr/>
            </a:pPr>
            <a:r>
              <a:rPr lang="nl-NL" sz="2000" b="1">
                <a:solidFill>
                  <a:prstClr val="black">
                    <a:lumMod val="75000"/>
                    <a:lumOff val="25000"/>
                  </a:prstClr>
                </a:solidFill>
                <a:latin typeface="Hind"/>
                <a:cs typeface="Hind"/>
              </a:rPr>
              <a:t>&gt; </a:t>
            </a:r>
            <a:r>
              <a:rPr lang="nl-NL" sz="2000" b="1" err="1">
                <a:solidFill>
                  <a:prstClr val="black">
                    <a:lumMod val="75000"/>
                    <a:lumOff val="25000"/>
                  </a:prstClr>
                </a:solidFill>
                <a:latin typeface="Hind"/>
                <a:cs typeface="Hind"/>
              </a:rPr>
              <a:t>Innovation</a:t>
            </a:r>
            <a:r>
              <a:rPr lang="nl-NL" sz="2000" b="1">
                <a:solidFill>
                  <a:prstClr val="black">
                    <a:lumMod val="75000"/>
                    <a:lumOff val="25000"/>
                  </a:prstClr>
                </a:solidFill>
                <a:latin typeface="Hind"/>
                <a:cs typeface="Hind"/>
              </a:rPr>
              <a:t> &amp; </a:t>
            </a:r>
            <a:r>
              <a:rPr lang="nl-NL" sz="2000" b="1" err="1">
                <a:solidFill>
                  <a:prstClr val="black">
                    <a:lumMod val="75000"/>
                    <a:lumOff val="25000"/>
                  </a:prstClr>
                </a:solidFill>
                <a:latin typeface="Hind"/>
                <a:cs typeface="Hind"/>
              </a:rPr>
              <a:t>Sustainability</a:t>
            </a:r>
            <a:r>
              <a:rPr lang="nl-NL" sz="2000" b="1">
                <a:solidFill>
                  <a:prstClr val="black">
                    <a:lumMod val="75000"/>
                    <a:lumOff val="25000"/>
                  </a:prstClr>
                </a:solidFill>
                <a:latin typeface="Hind"/>
                <a:cs typeface="Hind"/>
              </a:rPr>
              <a:t> consultant</a:t>
            </a:r>
          </a:p>
          <a:p>
            <a:pPr defTabSz="380985">
              <a:lnSpc>
                <a:spcPct val="300000"/>
              </a:lnSpc>
              <a:defRPr/>
            </a:pPr>
            <a:r>
              <a:rPr lang="nl-NL" sz="2000" b="1">
                <a:solidFill>
                  <a:prstClr val="black">
                    <a:lumMod val="75000"/>
                    <a:lumOff val="25000"/>
                  </a:prstClr>
                </a:solidFill>
                <a:latin typeface="Hind"/>
                <a:cs typeface="Hind"/>
              </a:rPr>
              <a:t>&gt; CSRD Lead Impact Institute,</a:t>
            </a:r>
            <a:endParaRPr lang="en-GB" sz="2000" b="1">
              <a:solidFill>
                <a:prstClr val="black">
                  <a:lumMod val="75000"/>
                  <a:lumOff val="25000"/>
                </a:prstClr>
              </a:solidFill>
              <a:latin typeface="Hind" panose="02000000000000000000" pitchFamily="2" charset="77"/>
              <a:cs typeface="Hind" panose="02000000000000000000" pitchFamily="2" charset="77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3630CFA-76E2-4C29-65BB-82B808D109A8}"/>
              </a:ext>
            </a:extLst>
          </p:cNvPr>
          <p:cNvSpPr txBox="1"/>
          <p:nvPr/>
        </p:nvSpPr>
        <p:spPr>
          <a:xfrm>
            <a:off x="658721" y="511429"/>
            <a:ext cx="5246445" cy="46166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380985">
              <a:defRPr/>
            </a:pPr>
            <a:r>
              <a:rPr lang="en-GB" sz="3000" b="1">
                <a:solidFill>
                  <a:prstClr val="black">
                    <a:lumMod val="75000"/>
                    <a:lumOff val="25000"/>
                  </a:prstClr>
                </a:solidFill>
                <a:latin typeface="Hind" panose="02000000000000000000" pitchFamily="2" charset="77"/>
                <a:cs typeface="Hind" panose="02000000000000000000" pitchFamily="2" charset="77"/>
              </a:rPr>
              <a:t>Me(</a:t>
            </a:r>
            <a:r>
              <a:rPr lang="en-GB" sz="3000" b="1" err="1">
                <a:solidFill>
                  <a:prstClr val="black">
                    <a:lumMod val="75000"/>
                    <a:lumOff val="25000"/>
                  </a:prstClr>
                </a:solidFill>
                <a:latin typeface="Hind" panose="02000000000000000000" pitchFamily="2" charset="77"/>
                <a:cs typeface="Hind" panose="02000000000000000000" pitchFamily="2" charset="77"/>
              </a:rPr>
              <a:t>nnovatie</a:t>
            </a:r>
            <a:r>
              <a:rPr lang="en-GB" sz="3000" b="1">
                <a:solidFill>
                  <a:prstClr val="black">
                    <a:lumMod val="75000"/>
                    <a:lumOff val="25000"/>
                  </a:prstClr>
                </a:solidFill>
                <a:latin typeface="Hind" panose="02000000000000000000" pitchFamily="2" charset="77"/>
                <a:cs typeface="Hind" panose="02000000000000000000" pitchFamily="2" charset="77"/>
              </a:rPr>
              <a:t>)</a:t>
            </a:r>
          </a:p>
        </p:txBody>
      </p:sp>
      <p:cxnSp>
        <p:nvCxnSpPr>
          <p:cNvPr id="9" name="Curved Connector 8">
            <a:extLst>
              <a:ext uri="{FF2B5EF4-FFF2-40B4-BE49-F238E27FC236}">
                <a16:creationId xmlns:a16="http://schemas.microsoft.com/office/drawing/2014/main" id="{CE79D23E-36A7-220B-F6C9-79CB1C635BC3}"/>
              </a:ext>
            </a:extLst>
          </p:cNvPr>
          <p:cNvCxnSpPr>
            <a:cxnSpLocks/>
          </p:cNvCxnSpPr>
          <p:nvPr/>
        </p:nvCxnSpPr>
        <p:spPr>
          <a:xfrm rot="16200000" flipH="1">
            <a:off x="3560396" y="4392471"/>
            <a:ext cx="807897" cy="738232"/>
          </a:xfrm>
          <a:prstGeom prst="curvedConnector3">
            <a:avLst>
              <a:gd name="adj1" fmla="val 50000"/>
            </a:avLst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54C12FFD-7673-45E1-EDB8-679B349B4F75}"/>
              </a:ext>
            </a:extLst>
          </p:cNvPr>
          <p:cNvSpPr/>
          <p:nvPr/>
        </p:nvSpPr>
        <p:spPr>
          <a:xfrm>
            <a:off x="2180041" y="5130937"/>
            <a:ext cx="4504650" cy="362953"/>
          </a:xfrm>
          <a:prstGeom prst="roundRect">
            <a:avLst>
              <a:gd name="adj" fmla="val 7951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80985">
              <a:defRPr/>
            </a:pPr>
            <a:r>
              <a:rPr lang="en-GB" sz="1333">
                <a:solidFill>
                  <a:srgbClr val="2B4D36"/>
                </a:solidFill>
                <a:latin typeface="Hind" panose="02000000000000000000" pitchFamily="2" charset="0"/>
                <a:cs typeface="Hind" panose="02000000000000000000" pitchFamily="2" charset="0"/>
              </a:rPr>
              <a:t>Co-founded by </a:t>
            </a:r>
            <a:r>
              <a:rPr lang="en-GB" sz="1333" err="1">
                <a:solidFill>
                  <a:srgbClr val="2B4D36"/>
                </a:solidFill>
                <a:latin typeface="Hind" panose="02000000000000000000" pitchFamily="2" charset="0"/>
                <a:cs typeface="Hind" panose="02000000000000000000" pitchFamily="2" charset="0"/>
              </a:rPr>
              <a:t>wCoolit</a:t>
            </a:r>
            <a:r>
              <a:rPr lang="en-GB" sz="1333">
                <a:solidFill>
                  <a:srgbClr val="2B4D36"/>
                </a:solidFill>
                <a:latin typeface="Hind" panose="02000000000000000000" pitchFamily="2" charset="0"/>
                <a:cs typeface="Hind" panose="02000000000000000000" pitchFamily="2" charset="0"/>
              </a:rPr>
              <a:t>, </a:t>
            </a:r>
            <a:r>
              <a:rPr lang="en-GB" sz="1333" err="1">
                <a:solidFill>
                  <a:srgbClr val="2B4D36"/>
                </a:solidFill>
                <a:latin typeface="Hind" panose="02000000000000000000" pitchFamily="2" charset="0"/>
                <a:cs typeface="Hind" panose="02000000000000000000" pitchFamily="2" charset="0"/>
              </a:rPr>
              <a:t>ReplanIT</a:t>
            </a:r>
            <a:r>
              <a:rPr lang="en-GB" sz="1333">
                <a:solidFill>
                  <a:srgbClr val="2B4D36"/>
                </a:solidFill>
                <a:latin typeface="Hind" panose="02000000000000000000" pitchFamily="2" charset="0"/>
                <a:cs typeface="Hind" panose="02000000000000000000" pitchFamily="2" charset="0"/>
              </a:rPr>
              <a:t> partner</a:t>
            </a:r>
            <a:endParaRPr lang="en-NL" sz="1333">
              <a:solidFill>
                <a:srgbClr val="2B4D36"/>
              </a:solidFill>
              <a:latin typeface="Hind" panose="02000000000000000000" pitchFamily="2" charset="0"/>
              <a:cs typeface="Hind" panose="02000000000000000000" pitchFamily="2" charset="0"/>
            </a:endParaRPr>
          </a:p>
        </p:txBody>
      </p:sp>
      <p:sp>
        <p:nvSpPr>
          <p:cNvPr id="3" name="TextBox 9">
            <a:extLst>
              <a:ext uri="{FF2B5EF4-FFF2-40B4-BE49-F238E27FC236}">
                <a16:creationId xmlns:a16="http://schemas.microsoft.com/office/drawing/2014/main" id="{16175D93-890D-FE51-0A17-A778740214F1}"/>
              </a:ext>
            </a:extLst>
          </p:cNvPr>
          <p:cNvSpPr txBox="1"/>
          <p:nvPr/>
        </p:nvSpPr>
        <p:spPr>
          <a:xfrm>
            <a:off x="1438246" y="3668665"/>
            <a:ext cx="5246445" cy="76944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380985">
              <a:lnSpc>
                <a:spcPct val="300000"/>
              </a:lnSpc>
              <a:defRPr/>
            </a:pPr>
            <a:r>
              <a:rPr lang="en-GB" sz="2000" b="1">
                <a:solidFill>
                  <a:prstClr val="black">
                    <a:lumMod val="75000"/>
                    <a:lumOff val="25000"/>
                  </a:prstClr>
                </a:solidFill>
                <a:latin typeface="Hind"/>
                <a:cs typeface="Hind"/>
              </a:rPr>
              <a:t>C</a:t>
            </a:r>
            <a:r>
              <a:rPr lang="nl-NL" sz="2000" b="1">
                <a:solidFill>
                  <a:prstClr val="black">
                    <a:lumMod val="75000"/>
                    <a:lumOff val="25000"/>
                  </a:prstClr>
                </a:solidFill>
                <a:latin typeface="Hind"/>
                <a:cs typeface="Hind"/>
              </a:rPr>
              <a:t>o-</a:t>
            </a:r>
            <a:r>
              <a:rPr lang="nl-NL" sz="2000" b="1" err="1">
                <a:solidFill>
                  <a:prstClr val="black">
                    <a:lumMod val="75000"/>
                    <a:lumOff val="25000"/>
                  </a:prstClr>
                </a:solidFill>
                <a:latin typeface="Hind"/>
                <a:cs typeface="Hind"/>
              </a:rPr>
              <a:t>founder</a:t>
            </a:r>
            <a:r>
              <a:rPr lang="nl-NL" sz="2000" b="1">
                <a:solidFill>
                  <a:prstClr val="black">
                    <a:lumMod val="75000"/>
                    <a:lumOff val="25000"/>
                  </a:prstClr>
                </a:solidFill>
                <a:latin typeface="Hind"/>
                <a:cs typeface="Hind"/>
              </a:rPr>
              <a:t> </a:t>
            </a:r>
            <a:r>
              <a:rPr lang="nl-NL" sz="2000" b="1" err="1">
                <a:solidFill>
                  <a:prstClr val="black">
                    <a:lumMod val="75000"/>
                    <a:lumOff val="25000"/>
                  </a:prstClr>
                </a:solidFill>
                <a:latin typeface="Hind"/>
                <a:cs typeface="Hind"/>
              </a:rPr>
              <a:t>Zirrow</a:t>
            </a:r>
            <a:r>
              <a:rPr lang="nl-NL" sz="2000" b="1">
                <a:solidFill>
                  <a:prstClr val="black">
                    <a:lumMod val="75000"/>
                    <a:lumOff val="25000"/>
                  </a:prstClr>
                </a:solidFill>
                <a:latin typeface="Hind"/>
                <a:cs typeface="Hind"/>
              </a:rPr>
              <a:t>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2350498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DFBF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/>
        </p:nvSpPr>
        <p:spPr>
          <a:xfrm rot="19181231">
            <a:off x="6054908" y="-1190437"/>
            <a:ext cx="5083759" cy="6319434"/>
          </a:xfrm>
          <a:custGeom>
            <a:avLst/>
            <a:gdLst/>
            <a:ahLst/>
            <a:cxnLst/>
            <a:rect l="l" t="t" r="r" b="b"/>
            <a:pathLst>
              <a:path w="9150766" h="11374981">
                <a:moveTo>
                  <a:pt x="0" y="0"/>
                </a:moveTo>
                <a:lnTo>
                  <a:pt x="9150766" y="0"/>
                </a:lnTo>
                <a:lnTo>
                  <a:pt x="9150766" y="11374981"/>
                </a:lnTo>
                <a:lnTo>
                  <a:pt x="0" y="11374981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3975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7949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61924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15898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69873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23848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77822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31797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l-NL" sz="556"/>
          </a:p>
        </p:txBody>
      </p:sp>
      <p:sp>
        <p:nvSpPr>
          <p:cNvPr id="4" name="TextBox 4"/>
          <p:cNvSpPr txBox="1"/>
          <p:nvPr/>
        </p:nvSpPr>
        <p:spPr>
          <a:xfrm>
            <a:off x="2177967" y="689796"/>
            <a:ext cx="3697167" cy="71750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3975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7949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61924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15898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69873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23848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77822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31797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6134"/>
              </a:lnSpc>
            </a:pPr>
            <a:r>
              <a:rPr lang="en-US" sz="4445" spc="436">
                <a:solidFill>
                  <a:srgbClr val="35744F"/>
                </a:solidFill>
                <a:latin typeface="Arial Bold"/>
                <a:cs typeface="Arial Bold"/>
              </a:rPr>
              <a:t>Program</a:t>
            </a:r>
          </a:p>
        </p:txBody>
      </p:sp>
      <p:sp>
        <p:nvSpPr>
          <p:cNvPr id="5" name="TextBox 5"/>
          <p:cNvSpPr txBox="1"/>
          <p:nvPr/>
        </p:nvSpPr>
        <p:spPr>
          <a:xfrm>
            <a:off x="2177967" y="1701578"/>
            <a:ext cx="5789017" cy="267702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3975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7949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61924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15898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69873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23848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77822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31797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2300"/>
              </a:lnSpc>
            </a:pPr>
            <a:r>
              <a:rPr lang="en-US" sz="1667" spc="163">
                <a:solidFill>
                  <a:srgbClr val="35744F"/>
                </a:solidFill>
                <a:latin typeface="Arial"/>
                <a:cs typeface="Arial"/>
              </a:rPr>
              <a:t>Welcome and introduction to the program</a:t>
            </a:r>
          </a:p>
        </p:txBody>
      </p:sp>
      <p:sp>
        <p:nvSpPr>
          <p:cNvPr id="6" name="TextBox 6"/>
          <p:cNvSpPr txBox="1"/>
          <p:nvPr/>
        </p:nvSpPr>
        <p:spPr>
          <a:xfrm>
            <a:off x="2177967" y="2142810"/>
            <a:ext cx="7301359" cy="267702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3975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7949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61924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15898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69873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23848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77822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31797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2300"/>
              </a:lnSpc>
            </a:pPr>
            <a:r>
              <a:rPr lang="en-US" sz="1667" spc="163">
                <a:solidFill>
                  <a:srgbClr val="35744F"/>
                </a:solidFill>
                <a:latin typeface="Arial"/>
                <a:cs typeface="Arial"/>
              </a:rPr>
              <a:t>Short introduction about the NCDD </a:t>
            </a:r>
          </a:p>
        </p:txBody>
      </p:sp>
      <p:sp>
        <p:nvSpPr>
          <p:cNvPr id="7" name="TextBox 7"/>
          <p:cNvSpPr txBox="1"/>
          <p:nvPr/>
        </p:nvSpPr>
        <p:spPr>
          <a:xfrm>
            <a:off x="1413479" y="1677784"/>
            <a:ext cx="520677" cy="38472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3975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7949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61924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15898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69873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23848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77822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31797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3000"/>
              </a:lnSpc>
            </a:pPr>
            <a:r>
              <a:rPr lang="en-US" sz="2500" spc="205">
                <a:solidFill>
                  <a:srgbClr val="35744F"/>
                </a:solidFill>
                <a:latin typeface="Arial Bold"/>
              </a:rPr>
              <a:t>01</a:t>
            </a:r>
          </a:p>
        </p:txBody>
      </p:sp>
      <p:sp>
        <p:nvSpPr>
          <p:cNvPr id="8" name="TextBox 8"/>
          <p:cNvSpPr txBox="1"/>
          <p:nvPr/>
        </p:nvSpPr>
        <p:spPr>
          <a:xfrm>
            <a:off x="1413479" y="2120629"/>
            <a:ext cx="520677" cy="38472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3975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7949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61924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15898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69873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23848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77822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31797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3000"/>
              </a:lnSpc>
            </a:pPr>
            <a:r>
              <a:rPr lang="en-US" sz="2500" spc="205">
                <a:solidFill>
                  <a:srgbClr val="35744F"/>
                </a:solidFill>
                <a:latin typeface="Arial Bold"/>
              </a:rPr>
              <a:t>02</a:t>
            </a:r>
          </a:p>
        </p:txBody>
      </p:sp>
      <p:sp>
        <p:nvSpPr>
          <p:cNvPr id="9" name="TextBox 9"/>
          <p:cNvSpPr txBox="1"/>
          <p:nvPr/>
        </p:nvSpPr>
        <p:spPr>
          <a:xfrm>
            <a:off x="1413479" y="2610160"/>
            <a:ext cx="520677" cy="38472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3975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7949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61924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15898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69873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23848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77822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31797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3000"/>
              </a:lnSpc>
            </a:pPr>
            <a:r>
              <a:rPr lang="en-US" sz="2500" spc="205">
                <a:solidFill>
                  <a:srgbClr val="35744F"/>
                </a:solidFill>
                <a:latin typeface="Arial Bold"/>
              </a:rPr>
              <a:t>03</a:t>
            </a:r>
          </a:p>
        </p:txBody>
      </p:sp>
      <p:sp>
        <p:nvSpPr>
          <p:cNvPr id="10" name="TextBox 10"/>
          <p:cNvSpPr txBox="1"/>
          <p:nvPr/>
        </p:nvSpPr>
        <p:spPr>
          <a:xfrm>
            <a:off x="1413479" y="3053004"/>
            <a:ext cx="520677" cy="38472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3975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7949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61924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15898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69873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23848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77822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31797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3000"/>
              </a:lnSpc>
            </a:pPr>
            <a:r>
              <a:rPr lang="en-US" sz="2500" spc="205">
                <a:solidFill>
                  <a:srgbClr val="35744F"/>
                </a:solidFill>
                <a:latin typeface="Arial Bold"/>
              </a:rPr>
              <a:t>04</a:t>
            </a:r>
          </a:p>
        </p:txBody>
      </p:sp>
      <p:sp>
        <p:nvSpPr>
          <p:cNvPr id="11" name="TextBox 11"/>
          <p:cNvSpPr txBox="1"/>
          <p:nvPr/>
        </p:nvSpPr>
        <p:spPr>
          <a:xfrm>
            <a:off x="1424369" y="3493214"/>
            <a:ext cx="520677" cy="38472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3975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7949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61924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15898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69873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23848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77822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31797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3000"/>
              </a:lnSpc>
            </a:pPr>
            <a:r>
              <a:rPr lang="en-US" sz="2500" spc="205">
                <a:solidFill>
                  <a:srgbClr val="35744F"/>
                </a:solidFill>
                <a:latin typeface="Arial Bold"/>
              </a:rPr>
              <a:t>05</a:t>
            </a:r>
          </a:p>
        </p:txBody>
      </p:sp>
      <p:sp>
        <p:nvSpPr>
          <p:cNvPr id="12" name="TextBox 12"/>
          <p:cNvSpPr txBox="1"/>
          <p:nvPr/>
        </p:nvSpPr>
        <p:spPr>
          <a:xfrm>
            <a:off x="1424369" y="3954860"/>
            <a:ext cx="520677" cy="38472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3975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7949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61924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15898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69873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23848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77822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31797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3000"/>
              </a:lnSpc>
            </a:pPr>
            <a:r>
              <a:rPr lang="en-US" sz="2500" spc="205">
                <a:solidFill>
                  <a:srgbClr val="35744F"/>
                </a:solidFill>
                <a:latin typeface="Arial Bold"/>
              </a:rPr>
              <a:t>06</a:t>
            </a:r>
          </a:p>
        </p:txBody>
      </p:sp>
      <p:sp>
        <p:nvSpPr>
          <p:cNvPr id="14" name="TextBox 14"/>
          <p:cNvSpPr txBox="1"/>
          <p:nvPr/>
        </p:nvSpPr>
        <p:spPr>
          <a:xfrm>
            <a:off x="2177967" y="2609119"/>
            <a:ext cx="7151101" cy="27382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3975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7949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61924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15898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69873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23848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77822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31797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2300"/>
              </a:lnSpc>
              <a:spcBef>
                <a:spcPct val="0"/>
              </a:spcBef>
            </a:pPr>
            <a:r>
              <a:rPr lang="en-US" sz="1667" spc="163">
                <a:solidFill>
                  <a:srgbClr val="35744F"/>
                </a:solidFill>
                <a:latin typeface="Arial"/>
                <a:cs typeface="Arial"/>
              </a:rPr>
              <a:t>Introduction on </a:t>
            </a:r>
            <a:r>
              <a:rPr lang="en-US" sz="1667" spc="163" err="1">
                <a:solidFill>
                  <a:srgbClr val="35744F"/>
                </a:solidFill>
                <a:latin typeface="Arial"/>
                <a:cs typeface="Arial"/>
              </a:rPr>
              <a:t>RePlanIT</a:t>
            </a:r>
            <a:r>
              <a:rPr lang="en-US" sz="1667" spc="163">
                <a:solidFill>
                  <a:srgbClr val="35744F"/>
                </a:solidFill>
                <a:latin typeface="Arial"/>
                <a:cs typeface="Arial"/>
              </a:rPr>
              <a:t> by Menno van Dijk</a:t>
            </a:r>
            <a:endParaRPr lang="en-US" sz="556"/>
          </a:p>
        </p:txBody>
      </p:sp>
      <p:sp>
        <p:nvSpPr>
          <p:cNvPr id="15" name="TextBox 15"/>
          <p:cNvSpPr txBox="1"/>
          <p:nvPr/>
        </p:nvSpPr>
        <p:spPr>
          <a:xfrm>
            <a:off x="2177967" y="3066728"/>
            <a:ext cx="7595039" cy="267702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3975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7949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61924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15898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69873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23848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77822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31797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2300"/>
              </a:lnSpc>
              <a:spcBef>
                <a:spcPct val="0"/>
              </a:spcBef>
            </a:pPr>
            <a:r>
              <a:rPr lang="en-US" sz="1667" spc="163">
                <a:solidFill>
                  <a:srgbClr val="35744F"/>
                </a:solidFill>
                <a:latin typeface="Arial"/>
              </a:rPr>
              <a:t>Research on product passports and ontology by Anelia </a:t>
            </a:r>
            <a:r>
              <a:rPr lang="en-US" sz="1667" spc="163" err="1">
                <a:solidFill>
                  <a:srgbClr val="35744F"/>
                </a:solidFill>
                <a:latin typeface="Arial"/>
              </a:rPr>
              <a:t>Kurteva</a:t>
            </a:r>
          </a:p>
        </p:txBody>
      </p:sp>
      <p:sp>
        <p:nvSpPr>
          <p:cNvPr id="16" name="TextBox 16"/>
          <p:cNvSpPr txBox="1"/>
          <p:nvPr/>
        </p:nvSpPr>
        <p:spPr>
          <a:xfrm>
            <a:off x="2177967" y="3565773"/>
            <a:ext cx="6669700" cy="267702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3975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7949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61924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15898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69873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23848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77822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31797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2300"/>
              </a:lnSpc>
              <a:spcBef>
                <a:spcPct val="0"/>
              </a:spcBef>
            </a:pPr>
            <a:r>
              <a:rPr lang="en-US" sz="1667" spc="163">
                <a:solidFill>
                  <a:srgbClr val="35744F"/>
                </a:solidFill>
                <a:latin typeface="Arial"/>
                <a:cs typeface="Arial"/>
              </a:rPr>
              <a:t>True price of data by Menno van Leeuwen</a:t>
            </a:r>
          </a:p>
        </p:txBody>
      </p:sp>
      <p:sp>
        <p:nvSpPr>
          <p:cNvPr id="17" name="TextBox 17"/>
          <p:cNvSpPr txBox="1"/>
          <p:nvPr/>
        </p:nvSpPr>
        <p:spPr>
          <a:xfrm>
            <a:off x="2177967" y="4005982"/>
            <a:ext cx="4891700" cy="267702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3975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7949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61924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15898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69873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23848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77822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31797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l">
              <a:lnSpc>
                <a:spcPts val="2300"/>
              </a:lnSpc>
              <a:spcBef>
                <a:spcPct val="0"/>
              </a:spcBef>
            </a:pPr>
            <a:r>
              <a:rPr lang="en-US" sz="1667" spc="163">
                <a:solidFill>
                  <a:srgbClr val="35744F"/>
                </a:solidFill>
                <a:latin typeface="Arial"/>
              </a:rPr>
              <a:t>Discussion</a:t>
            </a:r>
            <a:endParaRPr lang="en-US" sz="1667" spc="163">
              <a:solidFill>
                <a:srgbClr val="35744F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0354660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inhoud 1">
            <a:extLst>
              <a:ext uri="{FF2B5EF4-FFF2-40B4-BE49-F238E27FC236}">
                <a16:creationId xmlns:a16="http://schemas.microsoft.com/office/drawing/2014/main" id="{CE861D16-9307-CD05-06D7-277718FA706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BA7A8FF3-5BB8-D543-A874-B60C28FEC4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Replan IT </a:t>
            </a:r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31FEA889-3D92-715A-A04A-2B76680889E0}"/>
              </a:ext>
            </a:extLst>
          </p:cNvPr>
          <p:cNvSpPr txBox="1"/>
          <p:nvPr/>
        </p:nvSpPr>
        <p:spPr>
          <a:xfrm>
            <a:off x="10143568" y="998367"/>
            <a:ext cx="1576717" cy="42780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600" b="0" i="0">
                <a:solidFill>
                  <a:srgbClr val="000000"/>
                </a:solidFill>
                <a:effectLst/>
                <a:latin typeface="Fago Office Serif"/>
              </a:rPr>
              <a:t>“We only use IT hardware, like laptops or data servers, for an average of 3 to 4 years before buying something new. With increasing digitization, this is not sustainable. </a:t>
            </a:r>
            <a:r>
              <a:rPr lang="en-GB" sz="1600" b="0" i="0" err="1">
                <a:solidFill>
                  <a:srgbClr val="000000"/>
                </a:solidFill>
                <a:effectLst/>
                <a:latin typeface="Fago Office Serif"/>
              </a:rPr>
              <a:t>RePlanIT</a:t>
            </a:r>
            <a:r>
              <a:rPr lang="en-GB" sz="1600" b="0" i="0">
                <a:solidFill>
                  <a:srgbClr val="000000"/>
                </a:solidFill>
                <a:effectLst/>
                <a:latin typeface="Fago Office Serif"/>
              </a:rPr>
              <a:t> aims to improve this and radically extend hardware lifetime</a:t>
            </a:r>
            <a:r>
              <a:rPr lang="en-GB" sz="1600">
                <a:solidFill>
                  <a:srgbClr val="000000"/>
                </a:solidFill>
                <a:latin typeface="Fago Office Serif"/>
              </a:rPr>
              <a:t>.”</a:t>
            </a:r>
            <a:endParaRPr lang="nl-NL" sz="1600"/>
          </a:p>
        </p:txBody>
      </p:sp>
      <p:pic>
        <p:nvPicPr>
          <p:cNvPr id="9" name="Afbeelding 8">
            <a:extLst>
              <a:ext uri="{FF2B5EF4-FFF2-40B4-BE49-F238E27FC236}">
                <a16:creationId xmlns:a16="http://schemas.microsoft.com/office/drawing/2014/main" id="{8E063076-A38B-FF37-47C5-050EF5505C6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4784" y="1021178"/>
            <a:ext cx="5549853" cy="3492765"/>
          </a:xfrm>
          <a:prstGeom prst="rect">
            <a:avLst/>
          </a:prstGeom>
        </p:spPr>
      </p:pic>
      <p:sp>
        <p:nvSpPr>
          <p:cNvPr id="15" name="Tekstballon: rechthoek 14">
            <a:extLst>
              <a:ext uri="{FF2B5EF4-FFF2-40B4-BE49-F238E27FC236}">
                <a16:creationId xmlns:a16="http://schemas.microsoft.com/office/drawing/2014/main" id="{F801FE34-3DE3-3554-2786-7773090872BA}"/>
              </a:ext>
            </a:extLst>
          </p:cNvPr>
          <p:cNvSpPr/>
          <p:nvPr/>
        </p:nvSpPr>
        <p:spPr>
          <a:xfrm>
            <a:off x="6353070" y="1259114"/>
            <a:ext cx="2500643" cy="1995356"/>
          </a:xfrm>
          <a:prstGeom prst="wedgeRectCallout">
            <a:avLst>
              <a:gd name="adj1" fmla="val -109773"/>
              <a:gd name="adj2" fmla="val 38401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err="1"/>
              <a:t>Wcoolit</a:t>
            </a:r>
            <a:r>
              <a:rPr lang="en-GB" sz="1600"/>
              <a:t>: </a:t>
            </a:r>
          </a:p>
          <a:p>
            <a:pPr algn="ctr"/>
            <a:r>
              <a:rPr lang="en-GB" sz="1600" err="1"/>
              <a:t>ReplanIT</a:t>
            </a:r>
            <a:r>
              <a:rPr lang="en-GB" sz="1600"/>
              <a:t> gave many data insights and triggered propositions how to increase better use of servers.</a:t>
            </a:r>
            <a:endParaRPr lang="nl-NL" sz="1600"/>
          </a:p>
        </p:txBody>
      </p:sp>
    </p:spTree>
    <p:extLst>
      <p:ext uri="{BB962C8B-B14F-4D97-AF65-F5344CB8AC3E}">
        <p14:creationId xmlns:p14="http://schemas.microsoft.com/office/powerpoint/2010/main" val="3425228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kstvak 6">
            <a:extLst>
              <a:ext uri="{FF2B5EF4-FFF2-40B4-BE49-F238E27FC236}">
                <a16:creationId xmlns:a16="http://schemas.microsoft.com/office/drawing/2014/main" id="{487700DE-C0BF-0FE6-A433-FD85DE69EA24}"/>
              </a:ext>
            </a:extLst>
          </p:cNvPr>
          <p:cNvSpPr txBox="1"/>
          <p:nvPr/>
        </p:nvSpPr>
        <p:spPr>
          <a:xfrm>
            <a:off x="627547" y="1527581"/>
            <a:ext cx="5164667" cy="34274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39" indent="-285739" defTabSz="76197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±"/>
            </a:pPr>
            <a:r>
              <a:rPr lang="nl-NL" altLang="nl-NL" sz="1667" b="1">
                <a:latin typeface="Arial" panose="020B0604020202020204" pitchFamily="34" charset="0"/>
              </a:rPr>
              <a:t>Rare </a:t>
            </a:r>
            <a:r>
              <a:rPr lang="nl-NL" altLang="nl-NL" sz="1667" b="1" err="1">
                <a:latin typeface="Arial" panose="020B0604020202020204" pitchFamily="34" charset="0"/>
              </a:rPr>
              <a:t>minerals</a:t>
            </a:r>
            <a:r>
              <a:rPr lang="nl-NL" altLang="nl-NL" sz="1667" b="1">
                <a:latin typeface="Arial" panose="020B0604020202020204" pitchFamily="34" charset="0"/>
              </a:rPr>
              <a:t>, </a:t>
            </a:r>
            <a:r>
              <a:rPr lang="nl-NL" altLang="nl-NL" sz="1667" b="1" err="1">
                <a:latin typeface="Arial" panose="020B0604020202020204" pitchFamily="34" charset="0"/>
              </a:rPr>
              <a:t>materials</a:t>
            </a:r>
            <a:r>
              <a:rPr lang="nl-NL" altLang="nl-NL" sz="1667" b="1">
                <a:latin typeface="Arial" panose="020B0604020202020204" pitchFamily="34" charset="0"/>
              </a:rPr>
              <a:t> </a:t>
            </a:r>
          </a:p>
          <a:p>
            <a:pPr marL="285739" indent="-285739" defTabSz="76197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±"/>
            </a:pPr>
            <a:endParaRPr lang="nl-NL" altLang="nl-NL" sz="1667" b="1">
              <a:latin typeface="Arial" panose="020B0604020202020204" pitchFamily="34" charset="0"/>
            </a:endParaRPr>
          </a:p>
          <a:p>
            <a:pPr marL="285739" indent="-285739" defTabSz="76197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±"/>
            </a:pPr>
            <a:r>
              <a:rPr lang="nl-NL" altLang="nl-NL" sz="1667" b="1">
                <a:solidFill>
                  <a:schemeClr val="accent1"/>
                </a:solidFill>
                <a:latin typeface="Arial" panose="020B0604020202020204" pitchFamily="34" charset="0"/>
              </a:rPr>
              <a:t>Energy, co2</a:t>
            </a:r>
          </a:p>
          <a:p>
            <a:pPr marL="285739" indent="-285739" defTabSz="76197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±"/>
            </a:pPr>
            <a:endParaRPr lang="nl-NL" altLang="nl-NL" sz="1667" b="1">
              <a:latin typeface="Arial" panose="020B0604020202020204" pitchFamily="34" charset="0"/>
            </a:endParaRPr>
          </a:p>
          <a:p>
            <a:pPr marL="285739" indent="-285739" defTabSz="76197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±"/>
            </a:pPr>
            <a:r>
              <a:rPr lang="nl-NL" altLang="nl-NL" sz="1667" b="1" err="1">
                <a:latin typeface="Arial" panose="020B0604020202020204" pitchFamily="34" charset="0"/>
              </a:rPr>
              <a:t>Landuse</a:t>
            </a:r>
            <a:endParaRPr lang="nl-NL" altLang="nl-NL" sz="1667" b="1">
              <a:latin typeface="Arial" panose="020B0604020202020204" pitchFamily="34" charset="0"/>
            </a:endParaRPr>
          </a:p>
          <a:p>
            <a:pPr marL="285739" indent="-285739" defTabSz="76197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±"/>
            </a:pPr>
            <a:endParaRPr lang="nl-NL" altLang="nl-NL" sz="1667" b="1">
              <a:latin typeface="Arial" panose="020B0604020202020204" pitchFamily="34" charset="0"/>
            </a:endParaRPr>
          </a:p>
          <a:p>
            <a:pPr marL="285739" indent="-285739" defTabSz="76197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±"/>
            </a:pPr>
            <a:r>
              <a:rPr lang="nl-NL" altLang="nl-NL" sz="1667" b="1">
                <a:latin typeface="Arial" panose="020B0604020202020204" pitchFamily="34" charset="0"/>
              </a:rPr>
              <a:t>Water</a:t>
            </a:r>
          </a:p>
          <a:p>
            <a:pPr marL="285739" indent="-285739" defTabSz="76197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±"/>
            </a:pPr>
            <a:endParaRPr lang="nl-NL" altLang="nl-NL" sz="1667" b="1">
              <a:latin typeface="Arial" panose="020B0604020202020204" pitchFamily="34" charset="0"/>
            </a:endParaRPr>
          </a:p>
          <a:p>
            <a:pPr marL="285739" indent="-285739" defTabSz="76197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±"/>
            </a:pPr>
            <a:r>
              <a:rPr lang="nl-NL" altLang="nl-NL" sz="1667" b="1" err="1">
                <a:latin typeface="Arial" panose="020B0604020202020204" pitchFamily="34" charset="0"/>
              </a:rPr>
              <a:t>Biodiversity</a:t>
            </a:r>
            <a:r>
              <a:rPr lang="nl-NL" altLang="nl-NL" sz="1667" b="1">
                <a:latin typeface="Arial" panose="020B0604020202020204" pitchFamily="34" charset="0"/>
              </a:rPr>
              <a:t> </a:t>
            </a:r>
            <a:r>
              <a:rPr lang="nl-NL" altLang="nl-NL" sz="1667" b="1" err="1">
                <a:latin typeface="Arial" panose="020B0604020202020204" pitchFamily="34" charset="0"/>
              </a:rPr>
              <a:t>loss</a:t>
            </a:r>
            <a:endParaRPr lang="nl-NL" altLang="nl-NL" sz="1667" b="1">
              <a:latin typeface="Arial" panose="020B0604020202020204" pitchFamily="34" charset="0"/>
            </a:endParaRPr>
          </a:p>
          <a:p>
            <a:pPr marL="285739" indent="-285739" defTabSz="76197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±"/>
            </a:pPr>
            <a:endParaRPr lang="nl-NL" altLang="nl-NL" sz="1667" b="1">
              <a:latin typeface="Arial" panose="020B0604020202020204" pitchFamily="34" charset="0"/>
            </a:endParaRPr>
          </a:p>
          <a:p>
            <a:pPr marL="285739" indent="-285739" defTabSz="76197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±"/>
            </a:pPr>
            <a:r>
              <a:rPr lang="nl-NL" altLang="nl-NL" sz="1667" b="1" err="1">
                <a:latin typeface="Arial" panose="020B0604020202020204" pitchFamily="34" charset="0"/>
              </a:rPr>
              <a:t>Social</a:t>
            </a:r>
            <a:r>
              <a:rPr lang="nl-NL" altLang="nl-NL" sz="1667" b="1">
                <a:latin typeface="Arial" panose="020B0604020202020204" pitchFamily="34" charset="0"/>
              </a:rPr>
              <a:t> </a:t>
            </a:r>
            <a:r>
              <a:rPr lang="nl-NL" altLang="nl-NL" sz="1667" b="1" err="1">
                <a:latin typeface="Arial" panose="020B0604020202020204" pitchFamily="34" charset="0"/>
              </a:rPr>
              <a:t>costs</a:t>
            </a:r>
            <a:r>
              <a:rPr lang="nl-NL" altLang="nl-NL" sz="1667" b="1">
                <a:latin typeface="Arial" panose="020B0604020202020204" pitchFamily="34" charset="0"/>
              </a:rPr>
              <a:t>, human </a:t>
            </a:r>
            <a:r>
              <a:rPr lang="nl-NL" altLang="nl-NL" sz="1667" b="1" err="1">
                <a:latin typeface="Arial" panose="020B0604020202020204" pitchFamily="34" charset="0"/>
              </a:rPr>
              <a:t>rights</a:t>
            </a:r>
            <a:endParaRPr lang="nl-NL" altLang="nl-NL" sz="1667" b="1">
              <a:latin typeface="Arial" panose="020B0604020202020204" pitchFamily="34" charset="0"/>
            </a:endParaRPr>
          </a:p>
          <a:p>
            <a:pPr defTabSz="761970" eaLnBrk="0" fontAlgn="base" hangingPunct="0">
              <a:spcBef>
                <a:spcPct val="0"/>
              </a:spcBef>
              <a:spcAft>
                <a:spcPct val="0"/>
              </a:spcAft>
            </a:pPr>
            <a:endParaRPr lang="nl-NL" altLang="nl-NL" sz="1667" b="1">
              <a:latin typeface="Arial" panose="020B0604020202020204" pitchFamily="34" charset="0"/>
            </a:endParaRPr>
          </a:p>
          <a:p>
            <a:pPr marL="285739" indent="-285739" defTabSz="76197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±"/>
            </a:pPr>
            <a:r>
              <a:rPr lang="nl-NL" altLang="nl-NL" sz="1667" b="1" err="1">
                <a:latin typeface="Arial" panose="020B0604020202020204" pitchFamily="34" charset="0"/>
              </a:rPr>
              <a:t>Social</a:t>
            </a:r>
            <a:r>
              <a:rPr lang="nl-NL" altLang="nl-NL" sz="1667" b="1">
                <a:latin typeface="Arial" panose="020B0604020202020204" pitchFamily="34" charset="0"/>
              </a:rPr>
              <a:t> media </a:t>
            </a:r>
            <a:r>
              <a:rPr lang="nl-NL" altLang="nl-NL" sz="1667" b="1" err="1">
                <a:latin typeface="Arial" panose="020B0604020202020204" pitchFamily="34" charset="0"/>
              </a:rPr>
              <a:t>depression</a:t>
            </a:r>
            <a:endParaRPr lang="nl-NL" altLang="nl-NL" sz="1667" b="1">
              <a:latin typeface="Arial" panose="020B0604020202020204" pitchFamily="34" charset="0"/>
            </a:endParaRP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D7DF31F6-306F-F35A-18B6-45041AE385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500" y="304271"/>
            <a:ext cx="9461500" cy="1104636"/>
          </a:xfrm>
        </p:spPr>
        <p:txBody>
          <a:bodyPr/>
          <a:lstStyle/>
          <a:p>
            <a:r>
              <a:rPr lang="en-GB"/>
              <a:t>TRIGGERS TAKING A BROADER LOOK AT THE TRUE PRICE OF DATA needed for informed decision making?</a:t>
            </a:r>
            <a:endParaRPr lang="nl-NL"/>
          </a:p>
        </p:txBody>
      </p:sp>
      <p:grpSp>
        <p:nvGrpSpPr>
          <p:cNvPr id="12" name="Groep 11">
            <a:extLst>
              <a:ext uri="{FF2B5EF4-FFF2-40B4-BE49-F238E27FC236}">
                <a16:creationId xmlns:a16="http://schemas.microsoft.com/office/drawing/2014/main" id="{862B2D51-4384-032C-9EDE-6295C7DFC585}"/>
              </a:ext>
            </a:extLst>
          </p:cNvPr>
          <p:cNvGrpSpPr/>
          <p:nvPr/>
        </p:nvGrpSpPr>
        <p:grpSpPr>
          <a:xfrm>
            <a:off x="5247307" y="1408907"/>
            <a:ext cx="4108360" cy="3420197"/>
            <a:chOff x="298524" y="1601532"/>
            <a:chExt cx="5308117" cy="4418992"/>
          </a:xfrm>
        </p:grpSpPr>
        <p:pic>
          <p:nvPicPr>
            <p:cNvPr id="13" name="Picture 5">
              <a:extLst>
                <a:ext uri="{FF2B5EF4-FFF2-40B4-BE49-F238E27FC236}">
                  <a16:creationId xmlns:a16="http://schemas.microsoft.com/office/drawing/2014/main" id="{8ADCCE68-522A-F719-1D7C-1D718AB667D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17207" y="1601532"/>
              <a:ext cx="4389434" cy="4418992"/>
            </a:xfrm>
            <a:prstGeom prst="rect">
              <a:avLst/>
            </a:prstGeom>
          </p:spPr>
        </p:pic>
        <p:pic>
          <p:nvPicPr>
            <p:cNvPr id="14" name="Graphic 17" descr="Man">
              <a:extLst>
                <a:ext uri="{FF2B5EF4-FFF2-40B4-BE49-F238E27FC236}">
                  <a16:creationId xmlns:a16="http://schemas.microsoft.com/office/drawing/2014/main" id="{EB02289D-1920-ABBA-ECF3-749F0CC0439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2170499" y="3175146"/>
              <a:ext cx="723050" cy="723050"/>
            </a:xfrm>
            <a:prstGeom prst="rect">
              <a:avLst/>
            </a:prstGeom>
          </p:spPr>
        </p:pic>
        <p:pic>
          <p:nvPicPr>
            <p:cNvPr id="15" name="Graphic 18" descr="Coins">
              <a:extLst>
                <a:ext uri="{FF2B5EF4-FFF2-40B4-BE49-F238E27FC236}">
                  <a16:creationId xmlns:a16="http://schemas.microsoft.com/office/drawing/2014/main" id="{F8B28024-5837-F13C-859C-EE29DDA9EF5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229004" y="4651101"/>
              <a:ext cx="723050" cy="723050"/>
            </a:xfrm>
            <a:prstGeom prst="rect">
              <a:avLst/>
            </a:prstGeom>
          </p:spPr>
        </p:pic>
        <p:pic>
          <p:nvPicPr>
            <p:cNvPr id="16" name="Graphic 19" descr="Group">
              <a:extLst>
                <a:ext uri="{FF2B5EF4-FFF2-40B4-BE49-F238E27FC236}">
                  <a16:creationId xmlns:a16="http://schemas.microsoft.com/office/drawing/2014/main" id="{198A2B31-3750-9FD5-A4AB-05B4ED83894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034047" y="2704923"/>
              <a:ext cx="723050" cy="723050"/>
            </a:xfrm>
            <a:prstGeom prst="rect">
              <a:avLst/>
            </a:prstGeom>
          </p:spPr>
        </p:pic>
        <p:pic>
          <p:nvPicPr>
            <p:cNvPr id="17" name="Graphic 20">
              <a:extLst>
                <a:ext uri="{FF2B5EF4-FFF2-40B4-BE49-F238E27FC236}">
                  <a16:creationId xmlns:a16="http://schemas.microsoft.com/office/drawing/2014/main" id="{3387B790-CD29-AFF9-5F3B-F550AF08AF19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1876173" y="2473735"/>
              <a:ext cx="723050" cy="723050"/>
            </a:xfrm>
            <a:prstGeom prst="rect">
              <a:avLst/>
            </a:prstGeom>
          </p:spPr>
        </p:pic>
        <p:pic>
          <p:nvPicPr>
            <p:cNvPr id="18" name="Graphic 21" descr="Gears">
              <a:extLst>
                <a:ext uri="{FF2B5EF4-FFF2-40B4-BE49-F238E27FC236}">
                  <a16:creationId xmlns:a16="http://schemas.microsoft.com/office/drawing/2014/main" id="{61F794A8-9CDC-E7A2-2DE9-D95E58858B1D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1741203" y="3298682"/>
              <a:ext cx="723050" cy="723050"/>
            </a:xfrm>
            <a:prstGeom prst="rect">
              <a:avLst/>
            </a:prstGeom>
          </p:spPr>
        </p:pic>
        <p:sp>
          <p:nvSpPr>
            <p:cNvPr id="19" name="Rectangle 11">
              <a:extLst>
                <a:ext uri="{FF2B5EF4-FFF2-40B4-BE49-F238E27FC236}">
                  <a16:creationId xmlns:a16="http://schemas.microsoft.com/office/drawing/2014/main" id="{27EE373E-2DCE-8066-867C-D8363207A75E}"/>
                </a:ext>
              </a:extLst>
            </p:cNvPr>
            <p:cNvSpPr/>
            <p:nvPr/>
          </p:nvSpPr>
          <p:spPr>
            <a:xfrm>
              <a:off x="298524" y="2454944"/>
              <a:ext cx="1428458" cy="304800"/>
            </a:xfrm>
            <a:prstGeom prst="rect">
              <a:avLst/>
            </a:prstGeom>
            <a:solidFill>
              <a:srgbClr val="BF211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 algn="ctr">
                <a:defRPr/>
              </a:pPr>
              <a:r>
                <a:rPr lang="en-US" sz="1333">
                  <a:solidFill>
                    <a:prstClr val="white"/>
                  </a:solidFill>
                  <a:latin typeface="Hind" panose="02000000000000000000" pitchFamily="2" charset="0"/>
                  <a:cs typeface="Hind" panose="02000000000000000000" pitchFamily="2" charset="0"/>
                </a:rPr>
                <a:t>Social</a:t>
              </a:r>
            </a:p>
          </p:txBody>
        </p:sp>
        <p:sp>
          <p:nvSpPr>
            <p:cNvPr id="20" name="Rectangle 12">
              <a:extLst>
                <a:ext uri="{FF2B5EF4-FFF2-40B4-BE49-F238E27FC236}">
                  <a16:creationId xmlns:a16="http://schemas.microsoft.com/office/drawing/2014/main" id="{3B337E83-1942-F5AE-D205-ABB566D45E54}"/>
                </a:ext>
              </a:extLst>
            </p:cNvPr>
            <p:cNvSpPr/>
            <p:nvPr/>
          </p:nvSpPr>
          <p:spPr>
            <a:xfrm>
              <a:off x="1947476" y="2182570"/>
              <a:ext cx="1070042" cy="272374"/>
            </a:xfrm>
            <a:prstGeom prst="rect">
              <a:avLst/>
            </a:prstGeom>
            <a:solidFill>
              <a:srgbClr val="4B9A9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761970">
                <a:defRPr/>
              </a:pPr>
              <a:r>
                <a:rPr lang="en-US" sz="1333">
                  <a:solidFill>
                    <a:prstClr val="white"/>
                  </a:solidFill>
                  <a:latin typeface="Hind" panose="02000000000000000000" pitchFamily="2" charset="0"/>
                  <a:cs typeface="Hind" panose="02000000000000000000" pitchFamily="2" charset="0"/>
                </a:rPr>
                <a:t>Natural</a:t>
              </a:r>
            </a:p>
          </p:txBody>
        </p:sp>
        <p:sp>
          <p:nvSpPr>
            <p:cNvPr id="21" name="Rectangle 13">
              <a:extLst>
                <a:ext uri="{FF2B5EF4-FFF2-40B4-BE49-F238E27FC236}">
                  <a16:creationId xmlns:a16="http://schemas.microsoft.com/office/drawing/2014/main" id="{2C90383D-4CEB-2716-7180-A48C4F172916}"/>
                </a:ext>
              </a:extLst>
            </p:cNvPr>
            <p:cNvSpPr/>
            <p:nvPr/>
          </p:nvSpPr>
          <p:spPr>
            <a:xfrm>
              <a:off x="4536599" y="4367603"/>
              <a:ext cx="1070042" cy="272374"/>
            </a:xfrm>
            <a:prstGeom prst="rect">
              <a:avLst/>
            </a:prstGeom>
            <a:solidFill>
              <a:srgbClr val="59595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 algn="ctr">
                <a:defRPr/>
              </a:pPr>
              <a:r>
                <a:rPr lang="en-US" sz="1333">
                  <a:solidFill>
                    <a:prstClr val="white"/>
                  </a:solidFill>
                  <a:latin typeface="Hind" panose="02000000000000000000" pitchFamily="2" charset="0"/>
                  <a:cs typeface="Hind" panose="02000000000000000000" pitchFamily="2" charset="0"/>
                </a:rPr>
                <a:t>Financial</a:t>
              </a:r>
            </a:p>
          </p:txBody>
        </p:sp>
        <p:sp>
          <p:nvSpPr>
            <p:cNvPr id="22" name="Rectangle 14">
              <a:extLst>
                <a:ext uri="{FF2B5EF4-FFF2-40B4-BE49-F238E27FC236}">
                  <a16:creationId xmlns:a16="http://schemas.microsoft.com/office/drawing/2014/main" id="{5F3EB74D-71C7-EAB9-B1E2-B397B034FDF7}"/>
                </a:ext>
              </a:extLst>
            </p:cNvPr>
            <p:cNvSpPr/>
            <p:nvPr/>
          </p:nvSpPr>
          <p:spPr>
            <a:xfrm>
              <a:off x="2586259" y="2879719"/>
              <a:ext cx="1070042" cy="272374"/>
            </a:xfrm>
            <a:prstGeom prst="rect">
              <a:avLst/>
            </a:prstGeom>
            <a:solidFill>
              <a:srgbClr val="008D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 algn="ctr">
                <a:defRPr/>
              </a:pPr>
              <a:r>
                <a:rPr lang="en-US" sz="1333">
                  <a:solidFill>
                    <a:prstClr val="white"/>
                  </a:solidFill>
                  <a:latin typeface="Hind" panose="02000000000000000000" pitchFamily="2" charset="0"/>
                  <a:cs typeface="Hind" panose="02000000000000000000" pitchFamily="2" charset="0"/>
                </a:rPr>
                <a:t>Human</a:t>
              </a:r>
            </a:p>
          </p:txBody>
        </p:sp>
        <p:sp>
          <p:nvSpPr>
            <p:cNvPr id="23" name="Rectangle 15">
              <a:extLst>
                <a:ext uri="{FF2B5EF4-FFF2-40B4-BE49-F238E27FC236}">
                  <a16:creationId xmlns:a16="http://schemas.microsoft.com/office/drawing/2014/main" id="{304FC085-6CAC-9169-521C-7C19F5679F73}"/>
                </a:ext>
              </a:extLst>
            </p:cNvPr>
            <p:cNvSpPr/>
            <p:nvPr/>
          </p:nvSpPr>
          <p:spPr>
            <a:xfrm>
              <a:off x="410954" y="3395284"/>
              <a:ext cx="1504544" cy="269132"/>
            </a:xfrm>
            <a:prstGeom prst="rect">
              <a:avLst/>
            </a:prstGeom>
            <a:solidFill>
              <a:srgbClr val="EE72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 algn="ctr">
                <a:defRPr/>
              </a:pPr>
              <a:r>
                <a:rPr lang="en-US" sz="1333">
                  <a:solidFill>
                    <a:prstClr val="white"/>
                  </a:solidFill>
                  <a:latin typeface="Hind" panose="02000000000000000000" pitchFamily="2" charset="0"/>
                  <a:cs typeface="Hind" panose="02000000000000000000" pitchFamily="2" charset="0"/>
                </a:rPr>
                <a:t>Produced</a:t>
              </a:r>
            </a:p>
          </p:txBody>
        </p:sp>
      </p:grpSp>
      <p:sp>
        <p:nvSpPr>
          <p:cNvPr id="26" name="Tekstvak 25">
            <a:extLst>
              <a:ext uri="{FF2B5EF4-FFF2-40B4-BE49-F238E27FC236}">
                <a16:creationId xmlns:a16="http://schemas.microsoft.com/office/drawing/2014/main" id="{339CD5ED-8194-7679-BBF5-FE2AB447719D}"/>
              </a:ext>
            </a:extLst>
          </p:cNvPr>
          <p:cNvSpPr txBox="1"/>
          <p:nvPr/>
        </p:nvSpPr>
        <p:spPr>
          <a:xfrm>
            <a:off x="7017961" y="1711355"/>
            <a:ext cx="2982307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7619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l-NL" altLang="nl-NL" sz="1500">
                <a:latin typeface="Arial" panose="020B0604020202020204" pitchFamily="34" charset="0"/>
              </a:rPr>
              <a:t>+True </a:t>
            </a:r>
            <a:r>
              <a:rPr lang="nl-NL" altLang="nl-NL" sz="1500" err="1">
                <a:latin typeface="Arial" panose="020B0604020202020204" pitchFamily="34" charset="0"/>
              </a:rPr>
              <a:t>value</a:t>
            </a:r>
            <a:r>
              <a:rPr lang="nl-NL" altLang="nl-NL" sz="1500">
                <a:latin typeface="Arial" panose="020B0604020202020204" pitchFamily="34" charset="0"/>
              </a:rPr>
              <a:t> of data?</a:t>
            </a:r>
          </a:p>
        </p:txBody>
      </p:sp>
      <p:pic>
        <p:nvPicPr>
          <p:cNvPr id="2" name="Picture 5" descr="A black and orange logo&#10;&#10;Description automatically generated">
            <a:extLst>
              <a:ext uri="{FF2B5EF4-FFF2-40B4-BE49-F238E27FC236}">
                <a16:creationId xmlns:a16="http://schemas.microsoft.com/office/drawing/2014/main" id="{299211FD-ACD4-F5B8-40B6-0E553D679A8C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65499" y="4837713"/>
            <a:ext cx="2072102" cy="7902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491756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Google Shape;111;g28e41b112f6_0_106"/>
          <p:cNvSpPr txBox="1">
            <a:spLocks noGrp="1"/>
          </p:cNvSpPr>
          <p:nvPr>
            <p:ph type="title" idx="4294967295"/>
          </p:nvPr>
        </p:nvSpPr>
        <p:spPr>
          <a:xfrm>
            <a:off x="521887" y="230188"/>
            <a:ext cx="5915426" cy="746125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101583" tIns="101583" rIns="101583" bIns="101583" rtlCol="0" anchor="t" anchorCtr="0">
            <a:noAutofit/>
          </a:bodyPr>
          <a:lstStyle/>
          <a:p>
            <a:pPr>
              <a:buSzPts val="990"/>
            </a:pPr>
            <a:r>
              <a:rPr lang="en-GB" sz="3133" b="1" err="1">
                <a:latin typeface="+mj-lt"/>
              </a:rPr>
              <a:t>Datacenters</a:t>
            </a:r>
            <a:r>
              <a:rPr lang="en-GB" sz="3133" b="1">
                <a:latin typeface="+mj-lt"/>
              </a:rPr>
              <a:t> consume significant amounts of energy</a:t>
            </a:r>
            <a:endParaRPr sz="3133" b="1">
              <a:latin typeface="+mj-lt"/>
            </a:endParaRPr>
          </a:p>
        </p:txBody>
      </p:sp>
      <p:pic>
        <p:nvPicPr>
          <p:cNvPr id="115" name="Google Shape;115;g28e41b112f6_0_10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21887" y="1727791"/>
            <a:ext cx="2742307" cy="2421635"/>
          </a:xfrm>
          <a:prstGeom prst="rect">
            <a:avLst/>
          </a:prstGeom>
          <a:noFill/>
          <a:ln>
            <a:noFill/>
          </a:ln>
          <a:effectLst>
            <a:outerShdw blurRad="185738" dist="76200" dir="5400000" algn="bl" rotWithShape="0">
              <a:srgbClr val="000000">
                <a:alpha val="13730"/>
              </a:srgbClr>
            </a:outerShdw>
          </a:effectLst>
        </p:spPr>
      </p:pic>
      <p:pic>
        <p:nvPicPr>
          <p:cNvPr id="116" name="Google Shape;116;g28e41b112f6_0_106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2453258" y="2857500"/>
            <a:ext cx="2921501" cy="1933312"/>
          </a:xfrm>
          <a:prstGeom prst="rect">
            <a:avLst/>
          </a:prstGeom>
          <a:noFill/>
          <a:ln>
            <a:noFill/>
          </a:ln>
          <a:effectLst>
            <a:outerShdw blurRad="185738" dist="76200" dir="5400000" algn="bl" rotWithShape="0">
              <a:srgbClr val="000000">
                <a:alpha val="13730"/>
              </a:srgbClr>
            </a:outerShdw>
          </a:effectLst>
        </p:spPr>
      </p:pic>
      <p:sp>
        <p:nvSpPr>
          <p:cNvPr id="2" name="Freeform: Shape 7">
            <a:extLst>
              <a:ext uri="{FF2B5EF4-FFF2-40B4-BE49-F238E27FC236}">
                <a16:creationId xmlns:a16="http://schemas.microsoft.com/office/drawing/2014/main" id="{0E4C9130-5269-E290-0005-40ED7CE81CED}"/>
              </a:ext>
            </a:extLst>
          </p:cNvPr>
          <p:cNvSpPr/>
          <p:nvPr/>
        </p:nvSpPr>
        <p:spPr>
          <a:xfrm>
            <a:off x="5818488" y="0"/>
            <a:ext cx="4341512" cy="5715000"/>
          </a:xfrm>
          <a:custGeom>
            <a:avLst/>
            <a:gdLst>
              <a:gd name="connsiteX0" fmla="*/ 1492124 w 4238171"/>
              <a:gd name="connsiteY0" fmla="*/ 0 h 5714999"/>
              <a:gd name="connsiteX1" fmla="*/ 2399954 w 4238171"/>
              <a:gd name="connsiteY1" fmla="*/ 0 h 5714999"/>
              <a:gd name="connsiteX2" fmla="*/ 2399954 w 4238171"/>
              <a:gd name="connsiteY2" fmla="*/ 1583015 h 5714999"/>
              <a:gd name="connsiteX3" fmla="*/ 4238171 w 4238171"/>
              <a:gd name="connsiteY3" fmla="*/ 1583015 h 5714999"/>
              <a:gd name="connsiteX4" fmla="*/ 4238171 w 4238171"/>
              <a:gd name="connsiteY4" fmla="*/ 3290002 h 5714999"/>
              <a:gd name="connsiteX5" fmla="*/ 3175707 w 4238171"/>
              <a:gd name="connsiteY5" fmla="*/ 5714999 h 5714999"/>
              <a:gd name="connsiteX6" fmla="*/ 2399954 w 4238171"/>
              <a:gd name="connsiteY6" fmla="*/ 5714999 h 5714999"/>
              <a:gd name="connsiteX7" fmla="*/ 2399954 w 4238171"/>
              <a:gd name="connsiteY7" fmla="*/ 3830530 h 5714999"/>
              <a:gd name="connsiteX8" fmla="*/ 155673 w 4238171"/>
              <a:gd name="connsiteY8" fmla="*/ 3830530 h 5714999"/>
              <a:gd name="connsiteX9" fmla="*/ 0 w 4238171"/>
              <a:gd name="connsiteY9" fmla="*/ 3405665 h 5714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238171" h="5714999">
                <a:moveTo>
                  <a:pt x="1492124" y="0"/>
                </a:moveTo>
                <a:lnTo>
                  <a:pt x="2399954" y="0"/>
                </a:lnTo>
                <a:lnTo>
                  <a:pt x="2399954" y="1583015"/>
                </a:lnTo>
                <a:lnTo>
                  <a:pt x="4238171" y="1583015"/>
                </a:lnTo>
                <a:lnTo>
                  <a:pt x="4238171" y="3290002"/>
                </a:lnTo>
                <a:lnTo>
                  <a:pt x="3175707" y="5714999"/>
                </a:lnTo>
                <a:lnTo>
                  <a:pt x="2399954" y="5714999"/>
                </a:lnTo>
                <a:lnTo>
                  <a:pt x="2399954" y="3830530"/>
                </a:lnTo>
                <a:lnTo>
                  <a:pt x="155673" y="3830530"/>
                </a:lnTo>
                <a:lnTo>
                  <a:pt x="0" y="3405665"/>
                </a:ln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380985"/>
            <a:endParaRPr lang="nl-NL" sz="1600" i="1">
              <a:solidFill>
                <a:schemeClr val="bg1"/>
              </a:solidFill>
            </a:endParaRP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124110B8-B547-3C69-9757-BCE17C50EDF9}"/>
              </a:ext>
            </a:extLst>
          </p:cNvPr>
          <p:cNvSpPr txBox="1"/>
          <p:nvPr/>
        </p:nvSpPr>
        <p:spPr>
          <a:xfrm>
            <a:off x="7057122" y="2246278"/>
            <a:ext cx="2715057" cy="92333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defTabSz="380985"/>
            <a:r>
              <a:rPr lang="nl-NL" i="1" err="1">
                <a:solidFill>
                  <a:schemeClr val="bg1"/>
                </a:solidFill>
              </a:rPr>
              <a:t>Currently</a:t>
            </a:r>
            <a:r>
              <a:rPr lang="nl-NL" sz="1800" i="1">
                <a:solidFill>
                  <a:schemeClr val="bg1"/>
                </a:solidFill>
              </a:rPr>
              <a:t>, 3% of </a:t>
            </a:r>
            <a:r>
              <a:rPr lang="nl-NL" sz="1800" i="1" err="1">
                <a:solidFill>
                  <a:schemeClr val="bg1"/>
                </a:solidFill>
              </a:rPr>
              <a:t>all</a:t>
            </a:r>
            <a:r>
              <a:rPr lang="nl-NL" sz="1800" i="1">
                <a:solidFill>
                  <a:schemeClr val="bg1"/>
                </a:solidFill>
              </a:rPr>
              <a:t> energy </a:t>
            </a:r>
            <a:r>
              <a:rPr lang="nl-NL" sz="1800" i="1" err="1">
                <a:solidFill>
                  <a:schemeClr val="bg1"/>
                </a:solidFill>
              </a:rPr>
              <a:t>consumption</a:t>
            </a:r>
            <a:r>
              <a:rPr lang="nl-NL" sz="1800" i="1">
                <a:solidFill>
                  <a:schemeClr val="bg1"/>
                </a:solidFill>
              </a:rPr>
              <a:t> is </a:t>
            </a:r>
            <a:r>
              <a:rPr lang="nl-NL" sz="1800" i="1" err="1">
                <a:solidFill>
                  <a:schemeClr val="bg1"/>
                </a:solidFill>
              </a:rPr>
              <a:t>used</a:t>
            </a:r>
            <a:r>
              <a:rPr lang="nl-NL" sz="1800" i="1">
                <a:solidFill>
                  <a:schemeClr val="bg1"/>
                </a:solidFill>
              </a:rPr>
              <a:t> </a:t>
            </a:r>
            <a:r>
              <a:rPr lang="nl-NL" sz="1800" i="1" err="1">
                <a:solidFill>
                  <a:schemeClr val="bg1"/>
                </a:solidFill>
              </a:rPr>
              <a:t>for</a:t>
            </a:r>
            <a:r>
              <a:rPr lang="nl-NL" sz="1800" i="1">
                <a:solidFill>
                  <a:schemeClr val="bg1"/>
                </a:solidFill>
              </a:rPr>
              <a:t> datacenters</a:t>
            </a:r>
          </a:p>
        </p:txBody>
      </p:sp>
    </p:spTree>
    <p:extLst>
      <p:ext uri="{BB962C8B-B14F-4D97-AF65-F5344CB8AC3E}">
        <p14:creationId xmlns:p14="http://schemas.microsoft.com/office/powerpoint/2010/main" val="125604660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9">
          <a:extLst>
            <a:ext uri="{FF2B5EF4-FFF2-40B4-BE49-F238E27FC236}">
              <a16:creationId xmlns:a16="http://schemas.microsoft.com/office/drawing/2014/main" id="{74277C45-4B8A-11B2-10CB-37705C799DB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: Shape 7">
            <a:extLst>
              <a:ext uri="{FF2B5EF4-FFF2-40B4-BE49-F238E27FC236}">
                <a16:creationId xmlns:a16="http://schemas.microsoft.com/office/drawing/2014/main" id="{B49F27D0-A104-46F4-0907-EC0077DA0C39}"/>
              </a:ext>
            </a:extLst>
          </p:cNvPr>
          <p:cNvSpPr/>
          <p:nvPr/>
        </p:nvSpPr>
        <p:spPr>
          <a:xfrm>
            <a:off x="5818488" y="0"/>
            <a:ext cx="4341512" cy="5715000"/>
          </a:xfrm>
          <a:custGeom>
            <a:avLst/>
            <a:gdLst>
              <a:gd name="connsiteX0" fmla="*/ 1492124 w 4238171"/>
              <a:gd name="connsiteY0" fmla="*/ 0 h 5714999"/>
              <a:gd name="connsiteX1" fmla="*/ 2399954 w 4238171"/>
              <a:gd name="connsiteY1" fmla="*/ 0 h 5714999"/>
              <a:gd name="connsiteX2" fmla="*/ 2399954 w 4238171"/>
              <a:gd name="connsiteY2" fmla="*/ 1583015 h 5714999"/>
              <a:gd name="connsiteX3" fmla="*/ 4238171 w 4238171"/>
              <a:gd name="connsiteY3" fmla="*/ 1583015 h 5714999"/>
              <a:gd name="connsiteX4" fmla="*/ 4238171 w 4238171"/>
              <a:gd name="connsiteY4" fmla="*/ 3290002 h 5714999"/>
              <a:gd name="connsiteX5" fmla="*/ 3175707 w 4238171"/>
              <a:gd name="connsiteY5" fmla="*/ 5714999 h 5714999"/>
              <a:gd name="connsiteX6" fmla="*/ 2399954 w 4238171"/>
              <a:gd name="connsiteY6" fmla="*/ 5714999 h 5714999"/>
              <a:gd name="connsiteX7" fmla="*/ 2399954 w 4238171"/>
              <a:gd name="connsiteY7" fmla="*/ 3830530 h 5714999"/>
              <a:gd name="connsiteX8" fmla="*/ 155673 w 4238171"/>
              <a:gd name="connsiteY8" fmla="*/ 3830530 h 5714999"/>
              <a:gd name="connsiteX9" fmla="*/ 0 w 4238171"/>
              <a:gd name="connsiteY9" fmla="*/ 3405665 h 5714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238171" h="5714999">
                <a:moveTo>
                  <a:pt x="1492124" y="0"/>
                </a:moveTo>
                <a:lnTo>
                  <a:pt x="2399954" y="0"/>
                </a:lnTo>
                <a:lnTo>
                  <a:pt x="2399954" y="1583015"/>
                </a:lnTo>
                <a:lnTo>
                  <a:pt x="4238171" y="1583015"/>
                </a:lnTo>
                <a:lnTo>
                  <a:pt x="4238171" y="3290002"/>
                </a:lnTo>
                <a:lnTo>
                  <a:pt x="3175707" y="5714999"/>
                </a:lnTo>
                <a:lnTo>
                  <a:pt x="2399954" y="5714999"/>
                </a:lnTo>
                <a:lnTo>
                  <a:pt x="2399954" y="3830530"/>
                </a:lnTo>
                <a:lnTo>
                  <a:pt x="155673" y="3830530"/>
                </a:lnTo>
                <a:lnTo>
                  <a:pt x="0" y="3405665"/>
                </a:ln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defTabSz="380985"/>
            <a:endParaRPr lang="nl-NL" sz="1600" i="1">
              <a:solidFill>
                <a:schemeClr val="bg1"/>
              </a:solidFill>
            </a:endParaRPr>
          </a:p>
        </p:txBody>
      </p:sp>
      <p:sp>
        <p:nvSpPr>
          <p:cNvPr id="111" name="Google Shape;111;g28e41b112f6_0_106">
            <a:extLst>
              <a:ext uri="{FF2B5EF4-FFF2-40B4-BE49-F238E27FC236}">
                <a16:creationId xmlns:a16="http://schemas.microsoft.com/office/drawing/2014/main" id="{7AF45896-A61B-5195-2476-6B6452D63952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426195" y="230188"/>
            <a:ext cx="5953968" cy="746125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101583" tIns="101583" rIns="101583" bIns="101583" rtlCol="0" anchor="t" anchorCtr="0">
            <a:noAutofit/>
          </a:bodyPr>
          <a:lstStyle/>
          <a:p>
            <a:pPr>
              <a:buSzPts val="990"/>
            </a:pPr>
            <a:r>
              <a:rPr lang="en-GB" sz="3133">
                <a:latin typeface="+mj-lt"/>
              </a:rPr>
              <a:t>…while data usage will keep on growing</a:t>
            </a:r>
            <a:endParaRPr sz="3133">
              <a:latin typeface="+mj-lt"/>
            </a:endParaRPr>
          </a:p>
        </p:txBody>
      </p:sp>
      <p:sp>
        <p:nvSpPr>
          <p:cNvPr id="3" name="Rechthoek 2">
            <a:extLst>
              <a:ext uri="{FF2B5EF4-FFF2-40B4-BE49-F238E27FC236}">
                <a16:creationId xmlns:a16="http://schemas.microsoft.com/office/drawing/2014/main" id="{C2F475D6-3EAC-8D2B-4332-74DF2A2D6EC8}"/>
              </a:ext>
            </a:extLst>
          </p:cNvPr>
          <p:cNvSpPr/>
          <p:nvPr/>
        </p:nvSpPr>
        <p:spPr>
          <a:xfrm>
            <a:off x="8580474" y="47847"/>
            <a:ext cx="1579387" cy="40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5" name="Tekstvak 4">
            <a:extLst>
              <a:ext uri="{FF2B5EF4-FFF2-40B4-BE49-F238E27FC236}">
                <a16:creationId xmlns:a16="http://schemas.microsoft.com/office/drawing/2014/main" id="{0931AA48-E173-2C82-CBAA-12884FC7A093}"/>
              </a:ext>
            </a:extLst>
          </p:cNvPr>
          <p:cNvSpPr txBox="1"/>
          <p:nvPr/>
        </p:nvSpPr>
        <p:spPr>
          <a:xfrm>
            <a:off x="7320517" y="1949544"/>
            <a:ext cx="2610292" cy="1477328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defTabSz="380985"/>
            <a:r>
              <a:rPr lang="nl-NL" sz="1800" i="1">
                <a:solidFill>
                  <a:schemeClr val="bg1"/>
                </a:solidFill>
              </a:rPr>
              <a:t>In 2030 datacenters are </a:t>
            </a:r>
            <a:r>
              <a:rPr lang="nl-NL" sz="1800" i="1" err="1">
                <a:solidFill>
                  <a:schemeClr val="bg1"/>
                </a:solidFill>
              </a:rPr>
              <a:t>expected</a:t>
            </a:r>
            <a:r>
              <a:rPr lang="nl-NL" sz="1800" i="1">
                <a:solidFill>
                  <a:schemeClr val="bg1"/>
                </a:solidFill>
              </a:rPr>
              <a:t> </a:t>
            </a:r>
            <a:r>
              <a:rPr lang="nl-NL" sz="1800" i="1" err="1">
                <a:solidFill>
                  <a:schemeClr val="bg1"/>
                </a:solidFill>
              </a:rPr>
              <a:t>to</a:t>
            </a:r>
            <a:r>
              <a:rPr lang="nl-NL" sz="1800" i="1">
                <a:solidFill>
                  <a:schemeClr val="bg1"/>
                </a:solidFill>
              </a:rPr>
              <a:t> </a:t>
            </a:r>
            <a:r>
              <a:rPr lang="nl-NL" sz="1800" i="1" err="1">
                <a:solidFill>
                  <a:schemeClr val="bg1"/>
                </a:solidFill>
              </a:rPr>
              <a:t>consume</a:t>
            </a:r>
            <a:r>
              <a:rPr lang="nl-NL" i="1">
                <a:solidFill>
                  <a:schemeClr val="bg1"/>
                </a:solidFill>
              </a:rPr>
              <a:t> more </a:t>
            </a:r>
            <a:r>
              <a:rPr lang="nl-NL" i="1" err="1">
                <a:solidFill>
                  <a:schemeClr val="bg1"/>
                </a:solidFill>
              </a:rPr>
              <a:t>than</a:t>
            </a:r>
            <a:r>
              <a:rPr lang="nl-NL" i="1">
                <a:solidFill>
                  <a:schemeClr val="bg1"/>
                </a:solidFill>
              </a:rPr>
              <a:t> 20</a:t>
            </a:r>
            <a:r>
              <a:rPr lang="nl-NL" sz="1800" i="1">
                <a:solidFill>
                  <a:schemeClr val="bg1"/>
                </a:solidFill>
              </a:rPr>
              <a:t>% of </a:t>
            </a:r>
            <a:r>
              <a:rPr lang="nl-NL" sz="1800" i="1" err="1">
                <a:solidFill>
                  <a:schemeClr val="bg1"/>
                </a:solidFill>
              </a:rPr>
              <a:t>all</a:t>
            </a:r>
            <a:r>
              <a:rPr lang="nl-NL" sz="1800" i="1">
                <a:solidFill>
                  <a:schemeClr val="bg1"/>
                </a:solidFill>
              </a:rPr>
              <a:t> </a:t>
            </a:r>
            <a:r>
              <a:rPr lang="nl-NL" sz="1800" i="1" err="1">
                <a:solidFill>
                  <a:schemeClr val="bg1"/>
                </a:solidFill>
              </a:rPr>
              <a:t>global</a:t>
            </a:r>
            <a:r>
              <a:rPr lang="nl-NL" sz="1800" i="1">
                <a:solidFill>
                  <a:schemeClr val="bg1"/>
                </a:solidFill>
              </a:rPr>
              <a:t> energy*</a:t>
            </a:r>
          </a:p>
        </p:txBody>
      </p:sp>
      <p:pic>
        <p:nvPicPr>
          <p:cNvPr id="7" name="Afbeelding 6">
            <a:extLst>
              <a:ext uri="{FF2B5EF4-FFF2-40B4-BE49-F238E27FC236}">
                <a16:creationId xmlns:a16="http://schemas.microsoft.com/office/drawing/2014/main" id="{D17F550C-7B11-9254-459F-68257DE1B3A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9992"/>
          <a:stretch/>
        </p:blipFill>
        <p:spPr>
          <a:xfrm>
            <a:off x="426195" y="2255828"/>
            <a:ext cx="3360711" cy="1774273"/>
          </a:xfrm>
          <a:prstGeom prst="rect">
            <a:avLst/>
          </a:prstGeom>
        </p:spPr>
      </p:pic>
      <p:sp>
        <p:nvSpPr>
          <p:cNvPr id="9" name="Tekstvak 8">
            <a:extLst>
              <a:ext uri="{FF2B5EF4-FFF2-40B4-BE49-F238E27FC236}">
                <a16:creationId xmlns:a16="http://schemas.microsoft.com/office/drawing/2014/main" id="{12D9E401-E253-1973-7954-A01FAABC21AA}"/>
              </a:ext>
            </a:extLst>
          </p:cNvPr>
          <p:cNvSpPr txBox="1"/>
          <p:nvPr/>
        </p:nvSpPr>
        <p:spPr>
          <a:xfrm>
            <a:off x="38897" y="5483393"/>
            <a:ext cx="509033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NL" sz="800"/>
              <a:t>https://www.theverge.com/24066646/ai-electricity-energy-watts-generative-consumption</a:t>
            </a:r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id="{8FC05B4A-10D6-029F-F624-F51ABC294EEC}"/>
              </a:ext>
            </a:extLst>
          </p:cNvPr>
          <p:cNvSpPr txBox="1"/>
          <p:nvPr/>
        </p:nvSpPr>
        <p:spPr>
          <a:xfrm>
            <a:off x="31200" y="5267949"/>
            <a:ext cx="509033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NL" sz="800" err="1"/>
              <a:t>Luccioni</a:t>
            </a:r>
            <a:r>
              <a:rPr lang="nl-NL" sz="800"/>
              <a:t> et al. </a:t>
            </a:r>
            <a:r>
              <a:rPr lang="nl-NL" sz="800" err="1"/>
              <a:t>Carnegie</a:t>
            </a:r>
            <a:r>
              <a:rPr lang="nl-NL" sz="800"/>
              <a:t> Mellon University</a:t>
            </a:r>
          </a:p>
        </p:txBody>
      </p:sp>
      <p:pic>
        <p:nvPicPr>
          <p:cNvPr id="12" name="Afbeelding 11">
            <a:extLst>
              <a:ext uri="{FF2B5EF4-FFF2-40B4-BE49-F238E27FC236}">
                <a16:creationId xmlns:a16="http://schemas.microsoft.com/office/drawing/2014/main" id="{DAA86054-C9AB-4926-9650-A067232F684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6195" y="3993789"/>
            <a:ext cx="1757396" cy="6552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03276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9">
          <a:extLst>
            <a:ext uri="{FF2B5EF4-FFF2-40B4-BE49-F238E27FC236}">
              <a16:creationId xmlns:a16="http://schemas.microsoft.com/office/drawing/2014/main" id="{B64B30F5-6F2F-B389-F919-A4A6EFC8BE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Google Shape;111;g28e41b112f6_0_106">
            <a:extLst>
              <a:ext uri="{FF2B5EF4-FFF2-40B4-BE49-F238E27FC236}">
                <a16:creationId xmlns:a16="http://schemas.microsoft.com/office/drawing/2014/main" id="{03B20FC8-08DB-298B-7AED-6DBE1C83B14D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26195" y="229625"/>
            <a:ext cx="7734293" cy="1078179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101583" tIns="101583" rIns="101583" bIns="101583" rtlCol="0" anchor="t" anchorCtr="0">
            <a:noAutofit/>
          </a:bodyPr>
          <a:lstStyle/>
          <a:p>
            <a:pPr>
              <a:buSzPts val="990"/>
            </a:pPr>
            <a:r>
              <a:rPr lang="en-GB" sz="3133">
                <a:latin typeface="+mj-lt"/>
              </a:rPr>
              <a:t>…creating multiple challenges to keep IT growth under control </a:t>
            </a:r>
            <a:br>
              <a:rPr lang="en-GB" sz="3133"/>
            </a:br>
            <a:endParaRPr sz="3133"/>
          </a:p>
        </p:txBody>
      </p:sp>
      <p:sp>
        <p:nvSpPr>
          <p:cNvPr id="5" name="Tekstvak 4">
            <a:extLst>
              <a:ext uri="{FF2B5EF4-FFF2-40B4-BE49-F238E27FC236}">
                <a16:creationId xmlns:a16="http://schemas.microsoft.com/office/drawing/2014/main" id="{8F9C070B-55C5-A6A3-CE28-3280AE37C61B}"/>
              </a:ext>
            </a:extLst>
          </p:cNvPr>
          <p:cNvSpPr txBox="1"/>
          <p:nvPr/>
        </p:nvSpPr>
        <p:spPr>
          <a:xfrm>
            <a:off x="7320517" y="1949544"/>
            <a:ext cx="261029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380985"/>
            <a:r>
              <a:rPr lang="nl-NL" i="1">
                <a:solidFill>
                  <a:schemeClr val="bg1"/>
                </a:solidFill>
              </a:rPr>
              <a:t>,,,,,,,,,,</a:t>
            </a:r>
            <a:r>
              <a:rPr lang="nl-NL" sz="1800" i="1">
                <a:solidFill>
                  <a:schemeClr val="bg1"/>
                </a:solidFill>
              </a:rPr>
              <a:t>*</a:t>
            </a:r>
          </a:p>
        </p:txBody>
      </p:sp>
      <p:sp>
        <p:nvSpPr>
          <p:cNvPr id="8" name="Google Shape;103;p3">
            <a:extLst>
              <a:ext uri="{FF2B5EF4-FFF2-40B4-BE49-F238E27FC236}">
                <a16:creationId xmlns:a16="http://schemas.microsoft.com/office/drawing/2014/main" id="{609EBB6C-301A-19BC-D80D-DF1E4745C1B2}"/>
              </a:ext>
            </a:extLst>
          </p:cNvPr>
          <p:cNvSpPr/>
          <p:nvPr/>
        </p:nvSpPr>
        <p:spPr>
          <a:xfrm>
            <a:off x="406784" y="1904075"/>
            <a:ext cx="2261988" cy="29841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98000" tIns="198000" rIns="198000" bIns="91425" anchor="t" anchorCtr="0">
            <a:noAutofit/>
          </a:bodyPr>
          <a:lstStyle/>
          <a:p>
            <a:pPr marR="0" lvl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</a:pPr>
            <a:r>
              <a:rPr lang="en-GB" sz="1400" b="0" i="0" u="none" strike="noStrike" cap="none">
                <a:latin typeface="Nunito Sans ExtraBold"/>
                <a:ea typeface="Nunito Sans ExtraBold"/>
                <a:cs typeface="Nunito Sans ExtraBold"/>
                <a:sym typeface="Nunito Sans ExtraBold"/>
              </a:rPr>
              <a:t>Sustainability</a:t>
            </a:r>
          </a:p>
          <a:p>
            <a:pPr marR="0" lvl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</a:pPr>
            <a:r>
              <a:rPr lang="en-GB" sz="1400">
                <a:latin typeface="Nunito Sans ExtraBold"/>
                <a:ea typeface="Nunito Sans ExtraBold"/>
                <a:cs typeface="Nunito Sans ExtraBold"/>
                <a:sym typeface="Nunito Sans ExtraBold"/>
              </a:rPr>
              <a:t>urgency &amp; compliancy</a:t>
            </a:r>
            <a:endParaRPr sz="1400" b="0" i="0" u="none" strike="noStrike" cap="none">
              <a:latin typeface="Nunito Sans ExtraBold"/>
              <a:ea typeface="Nunito Sans ExtraBold"/>
              <a:cs typeface="Nunito Sans ExtraBold"/>
              <a:sym typeface="Nunito Sans ExtraBold"/>
            </a:endParaRPr>
          </a:p>
          <a:p>
            <a:pPr marL="52550" marR="0" lvl="0" algn="l" rtl="0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Clr>
                <a:srgbClr val="31AA4A"/>
              </a:buClr>
              <a:buSzPts val="1100"/>
            </a:pPr>
            <a:r>
              <a:rPr lang="en-GB" sz="1100" b="0" i="0" u="none" strike="noStrike" cap="none">
                <a:latin typeface="Nunito Sans SemiBold"/>
                <a:ea typeface="Nunito Sans SemiBold"/>
                <a:cs typeface="Nunito Sans SemiBold"/>
                <a:sym typeface="Nunito Sans SemiBold"/>
              </a:rPr>
              <a:t>Rising global temperatures</a:t>
            </a:r>
            <a:endParaRPr sz="1100" b="0" i="0" u="none" strike="noStrike" cap="none">
              <a:latin typeface="Nunito Sans SemiBold"/>
              <a:ea typeface="Nunito Sans SemiBold"/>
              <a:cs typeface="Nunito Sans SemiBold"/>
              <a:sym typeface="Nunito Sans SemiBold"/>
            </a:endParaRPr>
          </a:p>
          <a:p>
            <a:pPr marL="5255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31AA4A"/>
              </a:buClr>
              <a:buSzPts val="1100"/>
            </a:pPr>
            <a:r>
              <a:rPr lang="en-GB" sz="1100" b="0" i="0" u="none" strike="noStrike" cap="none">
                <a:solidFill>
                  <a:schemeClr val="bg1"/>
                </a:solidFill>
                <a:latin typeface="Nunito Sans SemiBold"/>
                <a:ea typeface="Nunito Sans SemiBold"/>
                <a:cs typeface="Nunito Sans SemiBold"/>
                <a:sym typeface="Nunito Sans SemiBold"/>
              </a:rPr>
              <a:t>Increase </a:t>
            </a:r>
            <a:r>
              <a:rPr lang="en-GB" sz="1100">
                <a:solidFill>
                  <a:schemeClr val="bg1"/>
                </a:solidFill>
                <a:latin typeface="Nunito Sans SemiBold"/>
                <a:ea typeface="Nunito Sans SemiBold"/>
                <a:cs typeface="Nunito Sans SemiBold"/>
                <a:sym typeface="Nunito Sans SemiBold"/>
              </a:rPr>
              <a:t>in </a:t>
            </a:r>
            <a:r>
              <a:rPr lang="en-GB" sz="1100" b="0" i="0" u="none" strike="noStrike" cap="none">
                <a:solidFill>
                  <a:schemeClr val="bg1"/>
                </a:solidFill>
                <a:latin typeface="Nunito Sans SemiBold"/>
                <a:ea typeface="Nunito Sans SemiBold"/>
                <a:cs typeface="Nunito Sans SemiBold"/>
                <a:sym typeface="Nunito Sans SemiBold"/>
              </a:rPr>
              <a:t>extreme weather </a:t>
            </a:r>
            <a:r>
              <a:rPr lang="en-GB" sz="1100" b="0" i="0" u="none" strike="noStrike" cap="none">
                <a:latin typeface="Nunito Sans SemiBold"/>
                <a:ea typeface="Nunito Sans SemiBold"/>
                <a:cs typeface="Nunito Sans SemiBold"/>
                <a:sym typeface="Nunito Sans SemiBold"/>
              </a:rPr>
              <a:t>events</a:t>
            </a:r>
            <a:endParaRPr sz="1100" b="0" i="0" u="none" strike="noStrike" cap="none">
              <a:latin typeface="Nunito Sans SemiBold"/>
              <a:ea typeface="Nunito Sans SemiBold"/>
              <a:cs typeface="Nunito Sans SemiBold"/>
              <a:sym typeface="Nunito Sans SemiBold"/>
            </a:endParaRPr>
          </a:p>
          <a:p>
            <a:pPr marL="5255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31AA4A"/>
              </a:buClr>
              <a:buSzPts val="1100"/>
            </a:pPr>
            <a:r>
              <a:rPr lang="en-GB" sz="1100" b="0" i="0" u="none" strike="noStrike" cap="none">
                <a:latin typeface="Nunito Sans SemiBold"/>
                <a:ea typeface="Nunito Sans SemiBold"/>
                <a:cs typeface="Nunito Sans SemiBold"/>
                <a:sym typeface="Nunito Sans SemiBold"/>
              </a:rPr>
              <a:t>Carbon footprint reduction</a:t>
            </a:r>
            <a:endParaRPr sz="1100" b="0" i="0" u="none" strike="noStrike" cap="none">
              <a:latin typeface="Nunito Sans SemiBold"/>
              <a:ea typeface="Nunito Sans SemiBold"/>
              <a:cs typeface="Nunito Sans SemiBold"/>
              <a:sym typeface="Nunito Sans SemiBold"/>
            </a:endParaRPr>
          </a:p>
          <a:p>
            <a:pPr marL="5255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31AA4A"/>
              </a:buClr>
              <a:buSzPts val="1100"/>
            </a:pPr>
            <a:r>
              <a:rPr lang="en-GB" sz="1100" b="0" i="0" u="none" strike="noStrike" cap="none">
                <a:latin typeface="Nunito Sans SemiBold"/>
                <a:ea typeface="Nunito Sans SemiBold"/>
                <a:cs typeface="Nunito Sans SemiBold"/>
                <a:sym typeface="Nunito Sans SemiBold"/>
              </a:rPr>
              <a:t>Renewable energy transition</a:t>
            </a:r>
            <a:endParaRPr sz="1100" b="0" i="0" u="none" strike="noStrike" cap="none">
              <a:latin typeface="Nunito Sans SemiBold"/>
              <a:ea typeface="Nunito Sans SemiBold"/>
              <a:cs typeface="Nunito Sans SemiBold"/>
              <a:sym typeface="Nunito Sans SemiBold"/>
            </a:endParaRPr>
          </a:p>
          <a:p>
            <a:pPr marL="5255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31AA4A"/>
              </a:buClr>
              <a:buSzPts val="1100"/>
            </a:pPr>
            <a:r>
              <a:rPr lang="en-GB" sz="1100" b="0" i="0" u="none" strike="noStrike" cap="none">
                <a:latin typeface="Nunito Sans SemiBold"/>
                <a:ea typeface="Nunito Sans SemiBold"/>
                <a:cs typeface="Nunito Sans SemiBold"/>
                <a:sym typeface="Nunito Sans SemiBold"/>
              </a:rPr>
              <a:t>Green data </a:t>
            </a:r>
            <a:r>
              <a:rPr lang="en-GB" sz="1100" b="0" i="0" u="none" strike="noStrike" cap="none" err="1">
                <a:latin typeface="Nunito Sans SemiBold"/>
                <a:ea typeface="Nunito Sans SemiBold"/>
                <a:cs typeface="Nunito Sans SemiBold"/>
                <a:sym typeface="Nunito Sans SemiBold"/>
              </a:rPr>
              <a:t>centers</a:t>
            </a:r>
            <a:endParaRPr sz="1400" b="0" i="0" u="none" strike="noStrike" cap="none"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" name="Google Shape;104;p3">
            <a:extLst>
              <a:ext uri="{FF2B5EF4-FFF2-40B4-BE49-F238E27FC236}">
                <a16:creationId xmlns:a16="http://schemas.microsoft.com/office/drawing/2014/main" id="{B2EC3B89-6DDF-9D10-60A6-FDB428DAC4CB}"/>
              </a:ext>
            </a:extLst>
          </p:cNvPr>
          <p:cNvSpPr/>
          <p:nvPr/>
        </p:nvSpPr>
        <p:spPr>
          <a:xfrm>
            <a:off x="2761904" y="1904075"/>
            <a:ext cx="2242577" cy="29841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198000" tIns="198000" rIns="198000" bIns="91425" anchor="t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GB" sz="1400" b="0" i="0" u="none" strike="noStrike" cap="none">
                <a:latin typeface="Nunito Sans ExtraBold"/>
                <a:ea typeface="Nunito Sans ExtraBold"/>
                <a:cs typeface="Nunito Sans ExtraBold"/>
                <a:sym typeface="Nunito Sans ExtraBold"/>
              </a:rPr>
              <a:t>Energy </a:t>
            </a:r>
          </a:p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GB" sz="1400">
                <a:latin typeface="Nunito Sans ExtraBold"/>
                <a:ea typeface="Nunito Sans ExtraBold"/>
                <a:cs typeface="Nunito Sans ExtraBold"/>
                <a:sym typeface="Nunito Sans ExtraBold"/>
              </a:rPr>
              <a:t>s</a:t>
            </a:r>
            <a:r>
              <a:rPr lang="en-GB" sz="1400" b="0" i="0" u="none" strike="noStrike" cap="none">
                <a:latin typeface="Nunito Sans ExtraBold"/>
                <a:ea typeface="Nunito Sans ExtraBold"/>
                <a:cs typeface="Nunito Sans ExtraBold"/>
                <a:sym typeface="Nunito Sans ExtraBold"/>
              </a:rPr>
              <a:t>hortage &amp; costs </a:t>
            </a:r>
            <a:endParaRPr sz="1400" b="0" i="0" u="none" strike="noStrike" cap="none">
              <a:latin typeface="Nunito Sans ExtraBold"/>
              <a:ea typeface="Nunito Sans ExtraBold"/>
              <a:cs typeface="Nunito Sans ExtraBold"/>
              <a:sym typeface="Nunito Sans ExtraBold"/>
            </a:endParaRPr>
          </a:p>
          <a:p>
            <a:pPr marL="52070" marR="0" lvl="0" algn="l" rtl="0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Clr>
                <a:srgbClr val="31AA4A"/>
              </a:buClr>
              <a:buSzPts val="1100"/>
            </a:pPr>
            <a:r>
              <a:rPr lang="en-GB" sz="1100" b="0" i="0" u="none" strike="noStrike" cap="none">
                <a:solidFill>
                  <a:srgbClr val="1A1E23"/>
                </a:solidFill>
                <a:latin typeface="Nunito Sans SemiBold"/>
                <a:ea typeface="Nunito Sans SemiBold"/>
                <a:cs typeface="Nunito Sans SemiBold"/>
                <a:sym typeface="Nunito Sans SemiBold"/>
              </a:rPr>
              <a:t>Growing global energy demand (</a:t>
            </a:r>
            <a:r>
              <a:rPr lang="en-GB" sz="1100" b="0" i="0" u="none" strike="noStrike" cap="none" err="1">
                <a:solidFill>
                  <a:srgbClr val="1A1E23"/>
                </a:solidFill>
                <a:latin typeface="Nunito Sans SemiBold"/>
                <a:ea typeface="Nunito Sans SemiBold"/>
                <a:cs typeface="Nunito Sans SemiBold"/>
                <a:sym typeface="Nunito Sans SemiBold"/>
              </a:rPr>
              <a:t>genAI</a:t>
            </a:r>
            <a:r>
              <a:rPr lang="en-GB" sz="1100" b="0" i="0" u="none" strike="noStrike" cap="none">
                <a:solidFill>
                  <a:srgbClr val="1A1E23"/>
                </a:solidFill>
                <a:latin typeface="Nunito Sans SemiBold"/>
                <a:ea typeface="Nunito Sans SemiBold"/>
                <a:cs typeface="Nunito Sans SemiBold"/>
                <a:sym typeface="Nunito Sans SemiBold"/>
              </a:rPr>
              <a:t>) </a:t>
            </a:r>
            <a:endParaRPr sz="1100" b="0" i="0" u="none" strike="noStrike" cap="none">
              <a:solidFill>
                <a:srgbClr val="1A1E23"/>
              </a:solidFill>
              <a:latin typeface="Nunito Sans SemiBold"/>
              <a:ea typeface="Nunito Sans SemiBold"/>
              <a:cs typeface="Nunito Sans SemiBold"/>
            </a:endParaRPr>
          </a:p>
          <a:p>
            <a:pPr marL="5207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31AA4A"/>
              </a:buClr>
              <a:buSzPts val="1100"/>
            </a:pPr>
            <a:r>
              <a:rPr lang="en-GB" sz="1100" b="0" i="0" u="none" strike="noStrike" cap="none">
                <a:solidFill>
                  <a:srgbClr val="1A1E23"/>
                </a:solidFill>
                <a:latin typeface="Nunito Sans SemiBold"/>
                <a:ea typeface="Nunito Sans SemiBold"/>
                <a:cs typeface="Nunito Sans SemiBold"/>
                <a:sym typeface="Nunito Sans SemiBold"/>
              </a:rPr>
              <a:t>Geopolitical factors</a:t>
            </a:r>
            <a:endParaRPr sz="1100" b="0" i="0" u="none" strike="noStrike" cap="none">
              <a:solidFill>
                <a:srgbClr val="1A1E23"/>
              </a:solidFill>
              <a:latin typeface="Nunito Sans SemiBold"/>
              <a:ea typeface="Nunito Sans SemiBold"/>
              <a:cs typeface="Nunito Sans SemiBold"/>
            </a:endParaRPr>
          </a:p>
          <a:p>
            <a:pPr marL="5207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31AA4A"/>
              </a:buClr>
              <a:buSzPts val="1100"/>
            </a:pPr>
            <a:r>
              <a:rPr lang="en-GB" sz="1100" b="0" i="0" u="none" strike="noStrike" cap="none">
                <a:solidFill>
                  <a:srgbClr val="1A1E23"/>
                </a:solidFill>
                <a:latin typeface="Nunito Sans SemiBold"/>
                <a:ea typeface="Nunito Sans SemiBold"/>
                <a:cs typeface="Nunito Sans SemiBold"/>
                <a:sym typeface="Nunito Sans SemiBold"/>
              </a:rPr>
              <a:t>Unpredictable weather patterns</a:t>
            </a:r>
            <a:endParaRPr sz="1100" b="0" i="0" u="none" strike="noStrike" cap="none">
              <a:solidFill>
                <a:srgbClr val="1A1E23"/>
              </a:solidFill>
              <a:latin typeface="Nunito Sans SemiBold"/>
              <a:ea typeface="Nunito Sans SemiBold"/>
              <a:cs typeface="Nunito Sans SemiBold"/>
            </a:endParaRPr>
          </a:p>
          <a:p>
            <a:pPr marL="5207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31AA4A"/>
              </a:buClr>
              <a:buSzPts val="1100"/>
            </a:pPr>
            <a:r>
              <a:rPr lang="en-GB" sz="1100" b="0" i="0" u="none" strike="noStrike" cap="none">
                <a:solidFill>
                  <a:srgbClr val="1A1E23"/>
                </a:solidFill>
                <a:latin typeface="Nunito Sans SemiBold"/>
                <a:ea typeface="Nunito Sans SemiBold"/>
                <a:cs typeface="Nunito Sans SemiBold"/>
                <a:sym typeface="Nunito Sans SemiBold"/>
              </a:rPr>
              <a:t>Transition to low-carbon energy systems</a:t>
            </a:r>
            <a:endParaRPr sz="1100" b="0" i="0" u="none" strike="noStrike" cap="none">
              <a:solidFill>
                <a:srgbClr val="1A1E23"/>
              </a:solidFill>
              <a:latin typeface="Nunito Sans SemiBold"/>
              <a:ea typeface="Nunito Sans SemiBold"/>
              <a:cs typeface="Nunito Sans SemiBold"/>
            </a:endParaRPr>
          </a:p>
          <a:p>
            <a:pPr marL="52070">
              <a:lnSpc>
                <a:spcPct val="150000"/>
              </a:lnSpc>
              <a:buClr>
                <a:srgbClr val="31AA4A"/>
              </a:buClr>
              <a:buSzPts val="1100"/>
            </a:pPr>
            <a:r>
              <a:rPr lang="en-GB" sz="1100">
                <a:solidFill>
                  <a:srgbClr val="2B917B"/>
                </a:solidFill>
                <a:latin typeface="Nunito Sans SemiBold"/>
                <a:ea typeface="Nunito Sans SemiBold"/>
                <a:cs typeface="Nunito Sans SemiBold"/>
                <a:sym typeface="Nunito Sans SemiBold"/>
              </a:rPr>
              <a:t>Net congestions</a:t>
            </a:r>
            <a:endParaRPr lang="en-GB" sz="1100" b="0" i="0" u="none" strike="noStrike" cap="none">
              <a:solidFill>
                <a:srgbClr val="2B917B"/>
              </a:solidFill>
              <a:latin typeface="Nunito Sans SemiBold"/>
              <a:ea typeface="Nunito Sans SemiBold"/>
              <a:cs typeface="Nunito Sans SemiBold"/>
            </a:endParaRPr>
          </a:p>
        </p:txBody>
      </p:sp>
      <p:sp>
        <p:nvSpPr>
          <p:cNvPr id="12" name="Google Shape;105;p3">
            <a:extLst>
              <a:ext uri="{FF2B5EF4-FFF2-40B4-BE49-F238E27FC236}">
                <a16:creationId xmlns:a16="http://schemas.microsoft.com/office/drawing/2014/main" id="{2ACBD701-9AF6-7AD3-E23D-0EE84276B628}"/>
              </a:ext>
            </a:extLst>
          </p:cNvPr>
          <p:cNvSpPr/>
          <p:nvPr/>
        </p:nvSpPr>
        <p:spPr>
          <a:xfrm>
            <a:off x="5097613" y="1899803"/>
            <a:ext cx="2242577" cy="29841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spcFirstLastPara="1" wrap="square" lIns="198000" tIns="198000" rIns="198000" bIns="91425" anchor="t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</a:pPr>
            <a:r>
              <a:rPr lang="en-GB" sz="1400" b="0" i="0" u="none" strike="noStrike" cap="none">
                <a:latin typeface="Nunito Sans ExtraBold"/>
                <a:ea typeface="Nunito Sans ExtraBold"/>
                <a:cs typeface="Nunito Sans ExtraBold"/>
                <a:sym typeface="Nunito Sans ExtraBold"/>
              </a:rPr>
              <a:t>Governmental </a:t>
            </a:r>
          </a:p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</a:pPr>
            <a:r>
              <a:rPr lang="en-GB" sz="1400">
                <a:latin typeface="Nunito Sans ExtraBold"/>
                <a:ea typeface="Nunito Sans ExtraBold"/>
                <a:cs typeface="Nunito Sans ExtraBold"/>
                <a:sym typeface="Nunito Sans ExtraBold"/>
              </a:rPr>
              <a:t>pressure &amp; </a:t>
            </a:r>
            <a:r>
              <a:rPr lang="en-GB" sz="1400" b="0" i="0" u="none" strike="noStrike" cap="none">
                <a:latin typeface="Nunito Sans ExtraBold"/>
                <a:ea typeface="Nunito Sans ExtraBold"/>
                <a:cs typeface="Nunito Sans ExtraBold"/>
                <a:sym typeface="Nunito Sans ExtraBold"/>
              </a:rPr>
              <a:t>policies</a:t>
            </a:r>
            <a:endParaRPr sz="1400" b="0" i="0" u="none" strike="noStrike" cap="none">
              <a:latin typeface="Nunito Sans ExtraBold"/>
              <a:ea typeface="Nunito Sans ExtraBold"/>
              <a:cs typeface="Nunito Sans ExtraBold"/>
              <a:sym typeface="Nunito Sans ExtraBold"/>
            </a:endParaRPr>
          </a:p>
          <a:p>
            <a:pPr marL="52550" marR="0" lvl="0" algn="l" rtl="0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Clr>
                <a:srgbClr val="31AA4A"/>
              </a:buClr>
              <a:buSzPts val="1100"/>
            </a:pPr>
            <a:r>
              <a:rPr lang="en-GB" sz="1100" b="0" i="0" u="none" strike="noStrike" cap="none">
                <a:latin typeface="Nunito Sans SemiBold"/>
                <a:ea typeface="Nunito Sans SemiBold"/>
                <a:cs typeface="Nunito Sans SemiBold"/>
                <a:sym typeface="Nunito Sans SemiBold"/>
              </a:rPr>
              <a:t>Dutch Climate Agreement</a:t>
            </a:r>
            <a:endParaRPr sz="1100" b="0" i="0" u="none" strike="noStrike" cap="none">
              <a:latin typeface="Nunito Sans SemiBold"/>
              <a:ea typeface="Nunito Sans SemiBold"/>
              <a:cs typeface="Nunito Sans SemiBold"/>
              <a:sym typeface="Nunito Sans SemiBold"/>
            </a:endParaRPr>
          </a:p>
          <a:p>
            <a:pPr marL="5255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31AA4A"/>
              </a:buClr>
              <a:buSzPts val="1100"/>
            </a:pPr>
            <a:r>
              <a:rPr lang="en-GB" sz="1100" b="0" i="0" u="none" strike="noStrike" cap="none">
                <a:latin typeface="Nunito Sans SemiBold"/>
                <a:ea typeface="Nunito Sans SemiBold"/>
                <a:cs typeface="Nunito Sans SemiBold"/>
                <a:sym typeface="Nunito Sans SemiBold"/>
              </a:rPr>
              <a:t>Dutch Energy Agreement</a:t>
            </a:r>
            <a:endParaRPr sz="1100" b="0" i="0" u="none" strike="noStrike" cap="none">
              <a:latin typeface="Nunito Sans SemiBold"/>
              <a:ea typeface="Nunito Sans SemiBold"/>
              <a:cs typeface="Nunito Sans SemiBold"/>
              <a:sym typeface="Nunito Sans SemiBold"/>
            </a:endParaRPr>
          </a:p>
          <a:p>
            <a:pPr marL="5255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31AA4A"/>
              </a:buClr>
              <a:buSzPts val="1100"/>
            </a:pPr>
            <a:r>
              <a:rPr lang="en-GB" sz="1100" b="0" i="0" u="none" strike="noStrike" cap="none">
                <a:latin typeface="Nunito Sans SemiBold"/>
                <a:ea typeface="Nunito Sans SemiBold"/>
                <a:cs typeface="Nunito Sans SemiBold"/>
                <a:sym typeface="Nunito Sans SemiBold"/>
              </a:rPr>
              <a:t>Energy Performance Standards</a:t>
            </a:r>
            <a:endParaRPr sz="1100" b="0" i="0" u="none" strike="noStrike" cap="none">
              <a:latin typeface="Nunito Sans SemiBold"/>
              <a:ea typeface="Nunito Sans SemiBold"/>
              <a:cs typeface="Nunito Sans SemiBold"/>
              <a:sym typeface="Nunito Sans SemiBold"/>
            </a:endParaRPr>
          </a:p>
          <a:p>
            <a:pPr marL="5255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31AA4A"/>
              </a:buClr>
              <a:buSzPts val="1100"/>
            </a:pPr>
            <a:r>
              <a:rPr lang="en-GB" sz="1100" b="0" i="0" u="none" strike="noStrike" cap="none">
                <a:latin typeface="Nunito Sans SemiBold"/>
                <a:ea typeface="Nunito Sans SemiBold"/>
                <a:cs typeface="Nunito Sans SemiBold"/>
                <a:sym typeface="Nunito Sans SemiBold"/>
              </a:rPr>
              <a:t>Energy Efficiency Directive Power Usage Effectiveness</a:t>
            </a:r>
            <a:endParaRPr sz="1100" b="0" i="0" u="none" strike="noStrike" cap="none">
              <a:latin typeface="Nunito Sans SemiBold"/>
              <a:ea typeface="Nunito Sans SemiBold"/>
              <a:cs typeface="Nunito Sans SemiBold"/>
              <a:sym typeface="Nunito Sans SemiBold"/>
            </a:endParaRPr>
          </a:p>
          <a:p>
            <a:pPr marL="52550"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A1E23"/>
              </a:buClr>
              <a:buSzPts val="1100"/>
            </a:pPr>
            <a:r>
              <a:rPr lang="en-GB" sz="1100">
                <a:solidFill>
                  <a:srgbClr val="2B917B"/>
                </a:solidFill>
                <a:latin typeface="Nunito Sans SemiBold"/>
                <a:ea typeface="Nunito Sans SemiBold"/>
                <a:cs typeface="Nunito Sans SemiBold"/>
                <a:sym typeface="Nunito Sans SemiBold"/>
              </a:rPr>
              <a:t>Corporate Sustainability Reporting Directive (CSRD)</a:t>
            </a:r>
            <a:endParaRPr sz="1100">
              <a:solidFill>
                <a:srgbClr val="2B917B"/>
              </a:solidFill>
              <a:latin typeface="Nunito Sans SemiBold"/>
              <a:ea typeface="Nunito Sans SemiBold"/>
              <a:cs typeface="Nunito Sans SemiBold"/>
              <a:sym typeface="Nunito Sans SemiBold"/>
            </a:endParaRPr>
          </a:p>
        </p:txBody>
      </p:sp>
      <p:sp>
        <p:nvSpPr>
          <p:cNvPr id="13" name="Google Shape;105;p3">
            <a:extLst>
              <a:ext uri="{FF2B5EF4-FFF2-40B4-BE49-F238E27FC236}">
                <a16:creationId xmlns:a16="http://schemas.microsoft.com/office/drawing/2014/main" id="{E155976B-ACD9-615A-E0F8-3093273DF0DC}"/>
              </a:ext>
            </a:extLst>
          </p:cNvPr>
          <p:cNvSpPr/>
          <p:nvPr/>
        </p:nvSpPr>
        <p:spPr>
          <a:xfrm>
            <a:off x="7433322" y="1894290"/>
            <a:ext cx="2242577" cy="29841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198000" tIns="198000" rIns="198000" bIns="91425" anchor="t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</a:pPr>
            <a:r>
              <a:rPr lang="en-US" sz="1400" b="1">
                <a:latin typeface="Nunito Sans ExtraBold" pitchFamily="2" charset="0"/>
                <a:ea typeface="Nunito Sans ExtraBold"/>
                <a:cs typeface="Nunito Sans ExtraBold"/>
                <a:sym typeface="Nunito Sans ExtraBold"/>
              </a:rPr>
              <a:t>Digital </a:t>
            </a:r>
          </a:p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</a:pPr>
            <a:r>
              <a:rPr lang="en-US" sz="1400" b="1">
                <a:latin typeface="Nunito Sans ExtraBold" pitchFamily="2" charset="0"/>
                <a:ea typeface="Nunito Sans ExtraBold"/>
                <a:cs typeface="Nunito Sans ExtraBold"/>
                <a:sym typeface="Nunito Sans ExtraBold"/>
              </a:rPr>
              <a:t>growth</a:t>
            </a:r>
            <a:r>
              <a:rPr lang="en-US" sz="1400" b="1" i="0" u="none" strike="noStrike" cap="none">
                <a:latin typeface="Nunito Sans ExtraBold" pitchFamily="2" charset="0"/>
                <a:ea typeface="Nunito Sans ExtraBold"/>
                <a:cs typeface="Nunito Sans ExtraBold"/>
                <a:sym typeface="Nunito Sans ExtraBold"/>
              </a:rPr>
              <a:t> &amp; costs</a:t>
            </a:r>
          </a:p>
          <a:p>
            <a:pPr marL="52070" marR="0" lvl="0" algn="l" rtl="0">
              <a:spcBef>
                <a:spcPts val="1200"/>
              </a:spcBef>
              <a:spcAft>
                <a:spcPts val="0"/>
              </a:spcAft>
              <a:buClr>
                <a:srgbClr val="31AA4A"/>
              </a:buClr>
              <a:buSzPts val="1100"/>
            </a:pPr>
            <a:r>
              <a:rPr lang="nl-NL" sz="1100" b="0" u="none" strike="noStrike" cap="none" err="1">
                <a:latin typeface="+mj-lt"/>
                <a:ea typeface="Nunito Sans SemiBold"/>
                <a:cs typeface="Nunito Sans SemiBold"/>
                <a:sym typeface="Nunito Sans SemiBold"/>
              </a:rPr>
              <a:t>Twin</a:t>
            </a:r>
            <a:r>
              <a:rPr lang="nl-NL" sz="1100" b="0" u="none" strike="noStrike" cap="none">
                <a:latin typeface="+mj-lt"/>
                <a:ea typeface="Nunito Sans SemiBold"/>
                <a:cs typeface="Nunito Sans SemiBold"/>
                <a:sym typeface="Nunito Sans SemiBold"/>
              </a:rPr>
              <a:t> </a:t>
            </a:r>
            <a:r>
              <a:rPr lang="nl-NL" sz="1100" b="0" u="none" strike="noStrike" cap="none" err="1">
                <a:latin typeface="+mj-lt"/>
                <a:ea typeface="Nunito Sans SemiBold"/>
                <a:cs typeface="Nunito Sans SemiBold"/>
                <a:sym typeface="Nunito Sans SemiBold"/>
              </a:rPr>
              <a:t>transition</a:t>
            </a:r>
            <a:endParaRPr lang="nl-NL" sz="1100" b="0" u="none" strike="noStrike" cap="none">
              <a:latin typeface="+mj-lt"/>
              <a:ea typeface="Nunito Sans SemiBold"/>
              <a:cs typeface="Nunito Sans SemiBold"/>
            </a:endParaRPr>
          </a:p>
          <a:p>
            <a:pPr marL="52070" marR="0" lvl="0" algn="l" rtl="0">
              <a:spcBef>
                <a:spcPts val="1200"/>
              </a:spcBef>
              <a:spcAft>
                <a:spcPts val="0"/>
              </a:spcAft>
              <a:buClr>
                <a:srgbClr val="31AA4A"/>
              </a:buClr>
              <a:buSzPts val="1100"/>
            </a:pPr>
            <a:r>
              <a:rPr lang="nl-NL" sz="1100" err="1">
                <a:latin typeface="+mj-lt"/>
                <a:ea typeface="Nunito Sans SemiBold"/>
                <a:cs typeface="Nunito Sans SemiBold"/>
                <a:sym typeface="Nunito Sans SemiBold"/>
              </a:rPr>
              <a:t>Own</a:t>
            </a:r>
            <a:r>
              <a:rPr lang="nl-NL" sz="1100">
                <a:latin typeface="+mj-lt"/>
                <a:ea typeface="Nunito Sans SemiBold"/>
                <a:cs typeface="Nunito Sans SemiBold"/>
                <a:sym typeface="Nunito Sans SemiBold"/>
              </a:rPr>
              <a:t> datacenters, </a:t>
            </a:r>
            <a:r>
              <a:rPr lang="nl-NL" sz="1100" err="1">
                <a:latin typeface="+mj-lt"/>
                <a:ea typeface="Nunito Sans SemiBold"/>
                <a:cs typeface="Nunito Sans SemiBold"/>
                <a:sym typeface="Nunito Sans SemiBold"/>
              </a:rPr>
              <a:t>hybrid</a:t>
            </a:r>
            <a:r>
              <a:rPr lang="nl-NL" sz="1100">
                <a:latin typeface="+mj-lt"/>
                <a:ea typeface="Nunito Sans SemiBold"/>
                <a:cs typeface="Nunito Sans SemiBold"/>
                <a:sym typeface="Nunito Sans SemiBold"/>
              </a:rPr>
              <a:t> or </a:t>
            </a:r>
            <a:r>
              <a:rPr lang="nl-NL" sz="1100" err="1">
                <a:latin typeface="+mj-lt"/>
                <a:ea typeface="Nunito Sans SemiBold"/>
                <a:cs typeface="Nunito Sans SemiBold"/>
                <a:sym typeface="Nunito Sans SemiBold"/>
              </a:rPr>
              <a:t>hyperscalers</a:t>
            </a:r>
            <a:endParaRPr lang="nl-NL" sz="1100">
              <a:latin typeface="+mj-lt"/>
              <a:ea typeface="Nunito Sans SemiBold"/>
              <a:cs typeface="Nunito Sans SemiBold"/>
            </a:endParaRPr>
          </a:p>
          <a:p>
            <a:pPr marL="52070" marR="0" lvl="0" algn="l" rtl="0">
              <a:spcBef>
                <a:spcPts val="1200"/>
              </a:spcBef>
              <a:spcAft>
                <a:spcPts val="0"/>
              </a:spcAft>
              <a:buClr>
                <a:srgbClr val="31AA4A"/>
              </a:buClr>
              <a:buSzPts val="1100"/>
            </a:pPr>
            <a:r>
              <a:rPr lang="nl-NL" sz="1100" err="1">
                <a:latin typeface="+mj-lt"/>
                <a:ea typeface="Nunito Sans SemiBold"/>
                <a:cs typeface="Nunito Sans SemiBold"/>
                <a:sym typeface="Nunito Sans SemiBold"/>
              </a:rPr>
              <a:t>Capacity</a:t>
            </a:r>
            <a:r>
              <a:rPr lang="nl-NL" sz="1100">
                <a:latin typeface="+mj-lt"/>
                <a:ea typeface="Nunito Sans SemiBold"/>
                <a:cs typeface="Nunito Sans SemiBold"/>
                <a:sym typeface="Nunito Sans SemiBold"/>
              </a:rPr>
              <a:t> </a:t>
            </a:r>
            <a:r>
              <a:rPr lang="nl-NL" sz="1100" err="1">
                <a:latin typeface="+mj-lt"/>
                <a:ea typeface="Nunito Sans SemiBold"/>
                <a:cs typeface="Nunito Sans SemiBold"/>
                <a:sym typeface="Nunito Sans SemiBold"/>
              </a:rPr>
              <a:t>and</a:t>
            </a:r>
            <a:r>
              <a:rPr lang="nl-NL" sz="1100">
                <a:latin typeface="+mj-lt"/>
                <a:ea typeface="Nunito Sans SemiBold"/>
                <a:cs typeface="Nunito Sans SemiBold"/>
                <a:sym typeface="Nunito Sans SemiBold"/>
              </a:rPr>
              <a:t> flexibility </a:t>
            </a:r>
            <a:r>
              <a:rPr lang="nl-NL" sz="1100" err="1">
                <a:latin typeface="+mj-lt"/>
                <a:ea typeface="Nunito Sans SemiBold"/>
                <a:cs typeface="Nunito Sans SemiBold"/>
                <a:sym typeface="Nunito Sans SemiBold"/>
              </a:rPr>
              <a:t>for</a:t>
            </a:r>
            <a:r>
              <a:rPr lang="nl-NL" sz="1100">
                <a:latin typeface="+mj-lt"/>
                <a:ea typeface="Nunito Sans SemiBold"/>
                <a:cs typeface="Nunito Sans SemiBold"/>
                <a:sym typeface="Nunito Sans SemiBold"/>
              </a:rPr>
              <a:t> (gen) AI</a:t>
            </a:r>
            <a:endParaRPr lang="nl-NL" sz="1100">
              <a:latin typeface="+mj-lt"/>
              <a:ea typeface="Nunito Sans SemiBold"/>
              <a:cs typeface="Nunito Sans SemiBold"/>
            </a:endParaRPr>
          </a:p>
          <a:p>
            <a:pPr marL="52070">
              <a:spcBef>
                <a:spcPts val="1200"/>
              </a:spcBef>
              <a:buClr>
                <a:srgbClr val="31AA4A"/>
              </a:buClr>
              <a:buSzPts val="1100"/>
            </a:pPr>
            <a:r>
              <a:rPr lang="nl-NL" sz="1100" err="1">
                <a:latin typeface="+mj-lt"/>
                <a:ea typeface="Nunito Sans SemiBold"/>
                <a:cs typeface="Nunito Sans SemiBold"/>
                <a:sym typeface="Nunito Sans SemiBold"/>
              </a:rPr>
              <a:t>Increasing</a:t>
            </a:r>
            <a:r>
              <a:rPr lang="nl-NL" sz="1100">
                <a:latin typeface="+mj-lt"/>
                <a:ea typeface="Nunito Sans SemiBold"/>
                <a:cs typeface="Nunito Sans SemiBold"/>
                <a:sym typeface="Nunito Sans SemiBold"/>
              </a:rPr>
              <a:t> </a:t>
            </a:r>
            <a:r>
              <a:rPr lang="nl-NL" sz="1100" err="1">
                <a:solidFill>
                  <a:schemeClr val="bg1"/>
                </a:solidFill>
                <a:latin typeface="+mj-lt"/>
                <a:ea typeface="Nunito Sans SemiBold"/>
                <a:cs typeface="Nunito Sans SemiBold"/>
                <a:sym typeface="Nunito Sans SemiBold"/>
              </a:rPr>
              <a:t>cloud</a:t>
            </a:r>
            <a:r>
              <a:rPr lang="nl-NL" sz="1100">
                <a:solidFill>
                  <a:schemeClr val="bg1"/>
                </a:solidFill>
                <a:latin typeface="+mj-lt"/>
                <a:ea typeface="Nunito Sans SemiBold"/>
                <a:cs typeface="Nunito Sans SemiBold"/>
                <a:sym typeface="Nunito Sans SemiBold"/>
              </a:rPr>
              <a:t> </a:t>
            </a:r>
            <a:r>
              <a:rPr lang="nl-NL" sz="1100" err="1">
                <a:solidFill>
                  <a:schemeClr val="bg1"/>
                </a:solidFill>
                <a:latin typeface="+mj-lt"/>
                <a:ea typeface="Nunito Sans SemiBold"/>
                <a:cs typeface="Nunito Sans SemiBold"/>
                <a:sym typeface="Nunito Sans SemiBold"/>
              </a:rPr>
              <a:t>spend</a:t>
            </a:r>
            <a:r>
              <a:rPr lang="nl-NL" sz="1100">
                <a:solidFill>
                  <a:schemeClr val="bg1"/>
                </a:solidFill>
                <a:latin typeface="+mj-lt"/>
                <a:ea typeface="Nunito Sans SemiBold"/>
                <a:cs typeface="Nunito Sans SemiBold"/>
                <a:sym typeface="Nunito Sans SemiBold"/>
              </a:rPr>
              <a:t> </a:t>
            </a:r>
            <a:r>
              <a:rPr lang="nl-NL" sz="1100" err="1">
                <a:latin typeface="+mj-lt"/>
                <a:ea typeface="Nunito Sans SemiBold"/>
                <a:cs typeface="Nunito Sans SemiBold"/>
                <a:sym typeface="Nunito Sans SemiBold"/>
              </a:rPr>
              <a:t>from</a:t>
            </a:r>
            <a:r>
              <a:rPr lang="nl-NL" sz="1100">
                <a:latin typeface="+mj-lt"/>
                <a:ea typeface="Nunito Sans SemiBold"/>
                <a:cs typeface="Nunito Sans SemiBold"/>
                <a:sym typeface="Nunito Sans SemiBold"/>
              </a:rPr>
              <a:t> </a:t>
            </a:r>
            <a:r>
              <a:rPr lang="nl-NL" sz="1100" err="1">
                <a:latin typeface="+mj-lt"/>
                <a:ea typeface="Nunito Sans SemiBold"/>
                <a:cs typeface="Nunito Sans SemiBold"/>
                <a:sym typeface="Nunito Sans SemiBold"/>
              </a:rPr>
              <a:t>genAI</a:t>
            </a:r>
            <a:r>
              <a:rPr lang="nl-NL" sz="1100">
                <a:latin typeface="+mj-lt"/>
                <a:ea typeface="Nunito Sans SemiBold"/>
                <a:cs typeface="Nunito Sans SemiBold"/>
                <a:sym typeface="Nunito Sans SemiBold"/>
              </a:rPr>
              <a:t> </a:t>
            </a:r>
            <a:r>
              <a:rPr lang="nl-NL" sz="1100" err="1">
                <a:latin typeface="+mj-lt"/>
                <a:ea typeface="Nunito Sans SemiBold"/>
                <a:cs typeface="Nunito Sans SemiBold"/>
                <a:sym typeface="Nunito Sans SemiBold"/>
              </a:rPr>
              <a:t>usage</a:t>
            </a:r>
            <a:r>
              <a:rPr lang="nl-NL" sz="1100">
                <a:latin typeface="+mj-lt"/>
                <a:ea typeface="Nunito Sans SemiBold"/>
                <a:cs typeface="Nunito Sans SemiBold"/>
                <a:sym typeface="Nunito Sans SemiBold"/>
              </a:rPr>
              <a:t> </a:t>
            </a:r>
            <a:endParaRPr lang="nl-NL" sz="1100">
              <a:latin typeface="+mj-lt"/>
              <a:ea typeface="Nunito Sans SemiBold"/>
              <a:cs typeface="Nunito Sans SemiBold"/>
            </a:endParaRPr>
          </a:p>
          <a:p>
            <a:pPr marL="52070" marR="0" lvl="0" algn="l" rtl="0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Clr>
                <a:srgbClr val="31AA4A"/>
              </a:buClr>
              <a:buSzPts val="1100"/>
            </a:pPr>
            <a:endParaRPr lang="nl-NL" sz="1100">
              <a:latin typeface="+mj-lt"/>
              <a:ea typeface="Nunito Sans SemiBold"/>
              <a:cs typeface="Nunito Sans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4728339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1" grpId="0" animBg="1"/>
      <p:bldP spid="12" grpId="0" animBg="1"/>
      <p:bldP spid="13" grpId="0" animBg="1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68269098-44E6-942C-4024-D29673F7FD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(CSRD) INTEGRATED REPORTING FIRST EXAMPLES</a:t>
            </a:r>
            <a:endParaRPr lang="en-NL"/>
          </a:p>
        </p:txBody>
      </p:sp>
      <p:pic>
        <p:nvPicPr>
          <p:cNvPr id="3" name="Afbeelding 2">
            <a:extLst>
              <a:ext uri="{FF2B5EF4-FFF2-40B4-BE49-F238E27FC236}">
                <a16:creationId xmlns:a16="http://schemas.microsoft.com/office/drawing/2014/main" id="{A117D021-3325-2401-E7A7-D087F2E2531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92981" y="856589"/>
            <a:ext cx="7917664" cy="3518433"/>
          </a:xfrm>
          <a:prstGeom prst="rect">
            <a:avLst/>
          </a:prstGeom>
        </p:spPr>
      </p:pic>
      <p:pic>
        <p:nvPicPr>
          <p:cNvPr id="6" name="Afbeelding 5">
            <a:extLst>
              <a:ext uri="{FF2B5EF4-FFF2-40B4-BE49-F238E27FC236}">
                <a16:creationId xmlns:a16="http://schemas.microsoft.com/office/drawing/2014/main" id="{BF329974-9B2E-0DD1-09E5-6843A6984D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39342" y="4375021"/>
            <a:ext cx="6423949" cy="11294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656858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68269098-44E6-942C-4024-D29673F7FD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500" y="304271"/>
            <a:ext cx="5673271" cy="1104636"/>
          </a:xfrm>
        </p:spPr>
        <p:txBody>
          <a:bodyPr/>
          <a:lstStyle/>
          <a:p>
            <a:r>
              <a:rPr lang="en-US"/>
              <a:t>KPN 100% SUSTAINABLE IN 2030, BUT HOW? DATA KEEPS ON GROWING</a:t>
            </a:r>
            <a:br>
              <a:rPr lang="en-US"/>
            </a:br>
            <a:endParaRPr lang="en-NL"/>
          </a:p>
        </p:txBody>
      </p:sp>
      <p:pic>
        <p:nvPicPr>
          <p:cNvPr id="4" name="Afbeelding 3">
            <a:extLst>
              <a:ext uri="{FF2B5EF4-FFF2-40B4-BE49-F238E27FC236}">
                <a16:creationId xmlns:a16="http://schemas.microsoft.com/office/drawing/2014/main" id="{A99C55DE-0BC3-9D8A-65C7-84E50B31BD6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49757"/>
          <a:stretch/>
        </p:blipFill>
        <p:spPr>
          <a:xfrm>
            <a:off x="4996177" y="1408907"/>
            <a:ext cx="5163823" cy="1496154"/>
          </a:xfrm>
          <a:prstGeom prst="rect">
            <a:avLst/>
          </a:prstGeom>
        </p:spPr>
      </p:pic>
      <p:pic>
        <p:nvPicPr>
          <p:cNvPr id="1026" name="Picture 2" descr="Electraverbruik2022">
            <a:extLst>
              <a:ext uri="{FF2B5EF4-FFF2-40B4-BE49-F238E27FC236}">
                <a16:creationId xmlns:a16="http://schemas.microsoft.com/office/drawing/2014/main" id="{DF3649C9-4096-69BE-2212-752FB0C2BB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3338" y="1725812"/>
            <a:ext cx="4238625" cy="3533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6640472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">
            <a:extLst>
              <a:ext uri="{FF2B5EF4-FFF2-40B4-BE49-F238E27FC236}">
                <a16:creationId xmlns:a16="http://schemas.microsoft.com/office/drawing/2014/main" id="{0908D2EB-A546-A5B2-2DDF-A8E1EC4331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191" y="423412"/>
            <a:ext cx="9511616" cy="677108"/>
          </a:xfrm>
        </p:spPr>
        <p:txBody>
          <a:bodyPr/>
          <a:lstStyle/>
          <a:p>
            <a:r>
              <a:rPr lang="en-US"/>
              <a:t>OPPORTUNITY TIME FOR GREEN IT SOLUTIONS</a:t>
            </a:r>
          </a:p>
        </p:txBody>
      </p:sp>
      <p:pic>
        <p:nvPicPr>
          <p:cNvPr id="13" name="Picture 6" descr="Light bulb on green grass">
            <a:extLst>
              <a:ext uri="{FF2B5EF4-FFF2-40B4-BE49-F238E27FC236}">
                <a16:creationId xmlns:a16="http://schemas.microsoft.com/office/drawing/2014/main" id="{03663D2B-173E-59C8-31C2-E4BEAE471DB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3742" r="11774" b="1"/>
          <a:stretch/>
        </p:blipFill>
        <p:spPr>
          <a:xfrm>
            <a:off x="324193" y="1235676"/>
            <a:ext cx="3836571" cy="3971324"/>
          </a:xfrm>
          <a:prstGeom prst="rect">
            <a:avLst/>
          </a:prstGeom>
          <a:noFill/>
        </p:spPr>
      </p:pic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9C04FC58-04C6-7124-BC3A-376D3FAFF74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24193" y="5316289"/>
            <a:ext cx="9282147" cy="123111"/>
          </a:xfrm>
        </p:spPr>
        <p:txBody>
          <a:bodyPr/>
          <a:lstStyle/>
          <a:p>
            <a:endParaRPr lang="en-US"/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A1F01D27-2917-74B7-7BD3-AD2A324F591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4193" y="5483327"/>
            <a:ext cx="9282147" cy="123111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770426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5" name="Google Shape;365;g1f2a2f236ff_0_0" descr="A green screen with white text&#10;&#10;Description automatically generated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0" y="357"/>
            <a:ext cx="10159998" cy="5714286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071703D-114D-A1A1-CB4F-301ACEC664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err="1"/>
              <a:t>Introducing</a:t>
            </a:r>
            <a:r>
              <a:rPr lang="nl-NL"/>
              <a:t> Smart Power &amp; Performance </a:t>
            </a:r>
            <a:br>
              <a:rPr lang="nl-NL"/>
            </a:br>
            <a:r>
              <a:rPr lang="nl-NL" err="1"/>
              <a:t>by</a:t>
            </a:r>
            <a:r>
              <a:rPr lang="nl-NL"/>
              <a:t> </a:t>
            </a:r>
            <a:r>
              <a:rPr lang="nl-NL" err="1"/>
              <a:t>Zirrow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02504506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Freeform 20"/>
          <p:cNvSpPr/>
          <p:nvPr/>
        </p:nvSpPr>
        <p:spPr>
          <a:xfrm>
            <a:off x="9026145" y="5218890"/>
            <a:ext cx="903801" cy="314071"/>
          </a:xfrm>
          <a:custGeom>
            <a:avLst/>
            <a:gdLst/>
            <a:ahLst/>
            <a:cxnLst/>
            <a:rect l="l" t="t" r="r" b="b"/>
            <a:pathLst>
              <a:path w="1626842" h="565328">
                <a:moveTo>
                  <a:pt x="0" y="0"/>
                </a:moveTo>
                <a:lnTo>
                  <a:pt x="1626843" y="0"/>
                </a:lnTo>
                <a:lnTo>
                  <a:pt x="1626843" y="565328"/>
                </a:lnTo>
                <a:lnTo>
                  <a:pt x="0" y="565328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3975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7949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61924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15898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69873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23848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77822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31797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l-NL" sz="556"/>
          </a:p>
        </p:txBody>
      </p:sp>
      <p:sp>
        <p:nvSpPr>
          <p:cNvPr id="21" name="TextBox 21"/>
          <p:cNvSpPr txBox="1"/>
          <p:nvPr/>
        </p:nvSpPr>
        <p:spPr>
          <a:xfrm>
            <a:off x="456177" y="2511203"/>
            <a:ext cx="4977939" cy="169277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3975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7949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61924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15898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69873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23848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77822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31797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ts val="4400"/>
              </a:lnSpc>
            </a:pPr>
            <a:r>
              <a:rPr lang="en-US" sz="4444" spc="155">
                <a:solidFill>
                  <a:srgbClr val="35744F"/>
                </a:solidFill>
                <a:latin typeface="Arial Bold"/>
              </a:rPr>
              <a:t>HUIS VAN DUURZAME DIGITALISERING</a:t>
            </a:r>
          </a:p>
        </p:txBody>
      </p:sp>
      <p:sp>
        <p:nvSpPr>
          <p:cNvPr id="22" name="Freeform 22"/>
          <p:cNvSpPr/>
          <p:nvPr/>
        </p:nvSpPr>
        <p:spPr>
          <a:xfrm rot="12673982">
            <a:off x="-2053038" y="-2926351"/>
            <a:ext cx="5249076" cy="6524934"/>
          </a:xfrm>
          <a:custGeom>
            <a:avLst/>
            <a:gdLst/>
            <a:ahLst/>
            <a:cxnLst/>
            <a:rect l="l" t="t" r="r" b="b"/>
            <a:pathLst>
              <a:path w="9448337" h="11744881">
                <a:moveTo>
                  <a:pt x="0" y="0"/>
                </a:moveTo>
                <a:lnTo>
                  <a:pt x="9448338" y="0"/>
                </a:lnTo>
                <a:lnTo>
                  <a:pt x="9448338" y="11744881"/>
                </a:lnTo>
                <a:lnTo>
                  <a:pt x="0" y="11744881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3975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7949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61924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15898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69873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23848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77822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31797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l-NL" sz="556"/>
          </a:p>
        </p:txBody>
      </p:sp>
      <p:pic>
        <p:nvPicPr>
          <p:cNvPr id="26" name="Afbeelding 25" descr="Afbeelding met tekst, visitekaartje, schermopname, logo&#10;&#10;Automatisch gegenereerde beschrijving">
            <a:extLst>
              <a:ext uri="{FF2B5EF4-FFF2-40B4-BE49-F238E27FC236}">
                <a16:creationId xmlns:a16="http://schemas.microsoft.com/office/drawing/2014/main" id="{01597604-9A0A-EF4D-BFCD-B506798C84A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5334" y="402167"/>
            <a:ext cx="4756034" cy="4404327"/>
          </a:xfrm>
          <a:prstGeom prst="rect">
            <a:avLst/>
          </a:prstGeom>
        </p:spPr>
      </p:pic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FA34F9F-43E5-67C4-A8B5-707C729A53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90637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FA34F9F-43E5-67C4-A8B5-707C729A53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AA07875-68FC-4F25-94A7-6270A8912C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500" y="2672834"/>
            <a:ext cx="9525000" cy="430887"/>
          </a:xfrm>
        </p:spPr>
        <p:txBody>
          <a:bodyPr vert="horz" wrap="square" lIns="0" tIns="0" rIns="0" bIns="0" rtlCol="0" anchor="t" anchorCtr="0">
            <a:spAutoFit/>
          </a:bodyPr>
          <a:lstStyle/>
          <a:p>
            <a:pPr algn="l"/>
            <a:r>
              <a:rPr lang="en-IN"/>
              <a:t>The problem</a:t>
            </a:r>
          </a:p>
        </p:txBody>
      </p:sp>
    </p:spTree>
    <p:extLst>
      <p:ext uri="{BB962C8B-B14F-4D97-AF65-F5344CB8AC3E}">
        <p14:creationId xmlns:p14="http://schemas.microsoft.com/office/powerpoint/2010/main" val="3857858984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490C05-E317-6CA6-A9A5-C1AC2A9800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13C06AE-7D3D-D689-E080-AFFD660D5CB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13C06AE-7D3D-D689-E080-AFFD660D5C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575D66B-B90B-091B-1FA5-EBF27BDD29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191" y="423411"/>
            <a:ext cx="9511552" cy="369332"/>
          </a:xfr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b="1"/>
              <a:t>Efficiency should be key, </a:t>
            </a:r>
            <a:br>
              <a:rPr lang="en-US" b="1"/>
            </a:br>
            <a:r>
              <a:rPr lang="en-US" b="1"/>
              <a:t>yet currently we see up to 40% energy waste</a:t>
            </a:r>
            <a:endParaRPr lang="nl-NL" b="1"/>
          </a:p>
        </p:txBody>
      </p:sp>
      <p:sp>
        <p:nvSpPr>
          <p:cNvPr id="59" name="Google Shape;151;g28e41b112f6_0_189">
            <a:extLst>
              <a:ext uri="{FF2B5EF4-FFF2-40B4-BE49-F238E27FC236}">
                <a16:creationId xmlns:a16="http://schemas.microsoft.com/office/drawing/2014/main" id="{721A6317-8BA5-756E-0797-B777FFED727E}"/>
              </a:ext>
            </a:extLst>
          </p:cNvPr>
          <p:cNvSpPr/>
          <p:nvPr/>
        </p:nvSpPr>
        <p:spPr>
          <a:xfrm>
            <a:off x="2144639" y="1962650"/>
            <a:ext cx="140700" cy="145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0" name="Google Shape;153;g28e41b112f6_0_189">
            <a:extLst>
              <a:ext uri="{FF2B5EF4-FFF2-40B4-BE49-F238E27FC236}">
                <a16:creationId xmlns:a16="http://schemas.microsoft.com/office/drawing/2014/main" id="{4FD6CBCB-263D-B755-408E-F80A897AC9E3}"/>
              </a:ext>
            </a:extLst>
          </p:cNvPr>
          <p:cNvSpPr txBox="1">
            <a:spLocks/>
          </p:cNvSpPr>
          <p:nvPr/>
        </p:nvSpPr>
        <p:spPr>
          <a:xfrm>
            <a:off x="2459689" y="1773225"/>
            <a:ext cx="2753100" cy="71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lang="en-US" sz="1400" kern="1200" dirty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Nunito Sans" panose="00000500000000000000" pitchFamily="2" charset="0"/>
              </a:defRPr>
            </a:lvl1pPr>
            <a:lvl2pPr marL="171450" indent="-171450" algn="l" defTabSz="6858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lang="en-US" sz="1400" kern="1200" dirty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Nunito Sans" panose="00000500000000000000" pitchFamily="2" charset="0"/>
              </a:defRPr>
            </a:lvl2pPr>
            <a:lvl3pPr marL="342900" indent="-171450" algn="l" defTabSz="6858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lang="en-US" sz="1400" kern="1200" dirty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Nunito Sans" panose="00000500000000000000" pitchFamily="2" charset="0"/>
              </a:defRPr>
            </a:lvl3pPr>
            <a:lvl4pPr marL="514350" indent="-171450" algn="l" defTabSz="6858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Nunito Sans" panose="00000500000000000000" pitchFamily="2" charset="0"/>
              </a:defRPr>
            </a:lvl4pPr>
            <a:lvl5pPr marL="685800" indent="-171450" algn="l" defTabSz="6858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»"/>
              <a:defRPr lang="en-US" sz="1400" kern="1200" dirty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Nunito Sans" panose="00000500000000000000" pitchFamily="2" charset="0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79388">
              <a:lnSpc>
                <a:spcPct val="115000"/>
              </a:lnSpc>
              <a:spcAft>
                <a:spcPts val="0"/>
              </a:spcAft>
              <a:buSzPts val="1800"/>
            </a:pPr>
            <a:r>
              <a:rPr lang="en-US" sz="1000">
                <a:solidFill>
                  <a:srgbClr val="1A1E23"/>
                </a:solidFill>
                <a:latin typeface="Nunito Sans SemiBold"/>
                <a:ea typeface="Nunito Sans SemiBold"/>
                <a:cs typeface="Nunito Sans SemiBold"/>
                <a:sym typeface="Nunito Sans SemiBold"/>
              </a:rPr>
              <a:t>1.	The heart of a </a:t>
            </a:r>
            <a:r>
              <a:rPr lang="en-US" sz="1000">
                <a:solidFill>
                  <a:srgbClr val="1A1E23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rPr>
              <a:t>server is the CPU</a:t>
            </a:r>
            <a:r>
              <a:rPr lang="en-US" sz="1000">
                <a:solidFill>
                  <a:srgbClr val="1A1E23"/>
                </a:solidFill>
                <a:latin typeface="Nunito Sans SemiBold"/>
                <a:ea typeface="Nunito Sans SemiBold"/>
                <a:cs typeface="Nunito Sans SemiBold"/>
                <a:sym typeface="Nunito Sans SemiBold"/>
              </a:rPr>
              <a:t>. The faster the CPU, the better the performance.</a:t>
            </a:r>
          </a:p>
        </p:txBody>
      </p:sp>
      <p:pic>
        <p:nvPicPr>
          <p:cNvPr id="61" name="Google Shape;155;g28e41b112f6_0_189">
            <a:extLst>
              <a:ext uri="{FF2B5EF4-FFF2-40B4-BE49-F238E27FC236}">
                <a16:creationId xmlns:a16="http://schemas.microsoft.com/office/drawing/2014/main" id="{D5862F7C-76C6-03AB-F06E-5E6E1E61AB6B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2039287" y="1865186"/>
            <a:ext cx="344204" cy="344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</p:pic>
      <p:sp>
        <p:nvSpPr>
          <p:cNvPr id="62" name="Google Shape;156;g28e41b112f6_0_189">
            <a:extLst>
              <a:ext uri="{FF2B5EF4-FFF2-40B4-BE49-F238E27FC236}">
                <a16:creationId xmlns:a16="http://schemas.microsoft.com/office/drawing/2014/main" id="{9A6EAA8F-7D38-24D7-C34A-8501ADC1840F}"/>
              </a:ext>
            </a:extLst>
          </p:cNvPr>
          <p:cNvSpPr txBox="1">
            <a:spLocks/>
          </p:cNvSpPr>
          <p:nvPr/>
        </p:nvSpPr>
        <p:spPr>
          <a:xfrm>
            <a:off x="2459689" y="2687626"/>
            <a:ext cx="2753100" cy="86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 lnSpcReduction="10000"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lang="en-US" sz="1400" kern="1200" dirty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Nunito Sans" panose="00000500000000000000" pitchFamily="2" charset="0"/>
              </a:defRPr>
            </a:lvl1pPr>
            <a:lvl2pPr marL="171450" indent="-171450" algn="l" defTabSz="6858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lang="en-US" sz="1400" kern="1200" dirty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Nunito Sans" panose="00000500000000000000" pitchFamily="2" charset="0"/>
              </a:defRPr>
            </a:lvl2pPr>
            <a:lvl3pPr marL="342900" indent="-171450" algn="l" defTabSz="6858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lang="en-US" sz="1400" kern="1200" dirty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Nunito Sans" panose="00000500000000000000" pitchFamily="2" charset="0"/>
              </a:defRPr>
            </a:lvl3pPr>
            <a:lvl4pPr marL="514350" indent="-171450" algn="l" defTabSz="6858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Nunito Sans" panose="00000500000000000000" pitchFamily="2" charset="0"/>
              </a:defRPr>
            </a:lvl4pPr>
            <a:lvl5pPr marL="685800" indent="-171450" algn="l" defTabSz="6858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»"/>
              <a:defRPr lang="en-US" sz="1400" kern="1200" dirty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Nunito Sans" panose="00000500000000000000" pitchFamily="2" charset="0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79388">
              <a:lnSpc>
                <a:spcPct val="115000"/>
              </a:lnSpc>
              <a:spcAft>
                <a:spcPts val="0"/>
              </a:spcAft>
              <a:buSzPts val="1800"/>
            </a:pPr>
            <a:r>
              <a:rPr lang="en-US" sz="1000">
                <a:solidFill>
                  <a:srgbClr val="1A1E23"/>
                </a:solidFill>
                <a:latin typeface="Nunito Sans SemiBold"/>
                <a:ea typeface="Nunito Sans SemiBold"/>
                <a:cs typeface="Nunito Sans SemiBold"/>
                <a:sym typeface="Nunito Sans SemiBold"/>
              </a:rPr>
              <a:t>2.	When work is completed, the CPU goes into idle state. When idle, the CPU only </a:t>
            </a:r>
            <a:r>
              <a:rPr lang="en-US" sz="1000">
                <a:solidFill>
                  <a:srgbClr val="1A1E23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rPr>
              <a:t>needs a fraction of the energy</a:t>
            </a:r>
            <a:r>
              <a:rPr lang="en-US" sz="1000">
                <a:solidFill>
                  <a:srgbClr val="1A1E23"/>
                </a:solidFill>
                <a:latin typeface="Nunito Sans SemiBold"/>
                <a:ea typeface="Nunito Sans SemiBold"/>
                <a:cs typeface="Nunito Sans SemiBold"/>
                <a:sym typeface="Nunito Sans SemiBold"/>
              </a:rPr>
              <a:t>, since there’s no computing power needed. </a:t>
            </a:r>
          </a:p>
        </p:txBody>
      </p:sp>
      <p:sp>
        <p:nvSpPr>
          <p:cNvPr id="63" name="Google Shape;157;g28e41b112f6_0_189">
            <a:extLst>
              <a:ext uri="{FF2B5EF4-FFF2-40B4-BE49-F238E27FC236}">
                <a16:creationId xmlns:a16="http://schemas.microsoft.com/office/drawing/2014/main" id="{06BABC17-D89C-CE1E-1843-0DBE68D5A0C5}"/>
              </a:ext>
            </a:extLst>
          </p:cNvPr>
          <p:cNvSpPr txBox="1">
            <a:spLocks/>
          </p:cNvSpPr>
          <p:nvPr/>
        </p:nvSpPr>
        <p:spPr>
          <a:xfrm>
            <a:off x="2459689" y="3749025"/>
            <a:ext cx="2753100" cy="86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lang="en-US" sz="1400" kern="1200" dirty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Nunito Sans" panose="00000500000000000000" pitchFamily="2" charset="0"/>
              </a:defRPr>
            </a:lvl1pPr>
            <a:lvl2pPr marL="171450" indent="-171450" algn="l" defTabSz="6858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lang="en-US" sz="1400" kern="1200" dirty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Nunito Sans" panose="00000500000000000000" pitchFamily="2" charset="0"/>
              </a:defRPr>
            </a:lvl2pPr>
            <a:lvl3pPr marL="342900" indent="-171450" algn="l" defTabSz="6858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lang="en-US" sz="1400" kern="1200" dirty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Nunito Sans" panose="00000500000000000000" pitchFamily="2" charset="0"/>
              </a:defRPr>
            </a:lvl3pPr>
            <a:lvl4pPr marL="514350" indent="-171450" algn="l" defTabSz="6858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Nunito Sans" panose="00000500000000000000" pitchFamily="2" charset="0"/>
              </a:defRPr>
            </a:lvl4pPr>
            <a:lvl5pPr marL="685800" indent="-171450" algn="l" defTabSz="6858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»"/>
              <a:defRPr lang="en-US" sz="1400" kern="1200" dirty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Nunito Sans" panose="00000500000000000000" pitchFamily="2" charset="0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79388">
              <a:lnSpc>
                <a:spcPct val="115000"/>
              </a:lnSpc>
              <a:spcAft>
                <a:spcPts val="0"/>
              </a:spcAft>
              <a:buSzPts val="1800"/>
            </a:pPr>
            <a:r>
              <a:rPr lang="en-US" sz="1000">
                <a:solidFill>
                  <a:srgbClr val="1A1E23"/>
                </a:solidFill>
                <a:latin typeface="Nunito Sans SemiBold"/>
                <a:ea typeface="Nunito Sans SemiBold"/>
                <a:cs typeface="Nunito Sans SemiBold"/>
                <a:sym typeface="Nunito Sans SemiBold"/>
              </a:rPr>
              <a:t>3.	However, energy usage in idle state is </a:t>
            </a:r>
            <a:r>
              <a:rPr lang="en-US" sz="1000">
                <a:solidFill>
                  <a:srgbClr val="1A1E23"/>
                </a:solidFill>
                <a:latin typeface="Nunito Sans Normal ExtraBold" pitchFamily="2" charset="0"/>
                <a:ea typeface="Nunito Sans SemiBold"/>
                <a:cs typeface="Nunito Sans SemiBold"/>
                <a:sym typeface="Nunito Sans SemiBold"/>
              </a:rPr>
              <a:t>dependent on </a:t>
            </a:r>
            <a:r>
              <a:rPr lang="en-US" sz="1000">
                <a:solidFill>
                  <a:srgbClr val="1A1E23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rPr>
              <a:t>settings</a:t>
            </a:r>
            <a:r>
              <a:rPr lang="en-US" sz="1000">
                <a:solidFill>
                  <a:srgbClr val="1A1E23"/>
                </a:solidFill>
                <a:latin typeface="Nunito Sans SemiBold"/>
                <a:ea typeface="Nunito Sans SemiBold"/>
                <a:cs typeface="Nunito Sans SemiBold"/>
                <a:sym typeface="Nunito Sans SemiBold"/>
              </a:rPr>
              <a:t>. </a:t>
            </a:r>
          </a:p>
        </p:txBody>
      </p:sp>
      <p:sp>
        <p:nvSpPr>
          <p:cNvPr id="64" name="Google Shape;158;g28e41b112f6_0_189">
            <a:extLst>
              <a:ext uri="{FF2B5EF4-FFF2-40B4-BE49-F238E27FC236}">
                <a16:creationId xmlns:a16="http://schemas.microsoft.com/office/drawing/2014/main" id="{AF6420A7-375B-9D4A-5FB4-686B3C9B8768}"/>
              </a:ext>
            </a:extLst>
          </p:cNvPr>
          <p:cNvSpPr/>
          <p:nvPr/>
        </p:nvSpPr>
        <p:spPr>
          <a:xfrm>
            <a:off x="2196966" y="2941107"/>
            <a:ext cx="174000" cy="174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5" name="Google Shape;159;g28e41b112f6_0_189">
            <a:extLst>
              <a:ext uri="{FF2B5EF4-FFF2-40B4-BE49-F238E27FC236}">
                <a16:creationId xmlns:a16="http://schemas.microsoft.com/office/drawing/2014/main" id="{6EA945FF-DF18-C1C9-2053-6E95EB42B571}"/>
              </a:ext>
            </a:extLst>
          </p:cNvPr>
          <p:cNvSpPr txBox="1">
            <a:spLocks/>
          </p:cNvSpPr>
          <p:nvPr/>
        </p:nvSpPr>
        <p:spPr>
          <a:xfrm>
            <a:off x="6574489" y="1773225"/>
            <a:ext cx="2753100" cy="71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lang="en-US" sz="1400" kern="1200" dirty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Nunito Sans" panose="00000500000000000000" pitchFamily="2" charset="0"/>
              </a:defRPr>
            </a:lvl1pPr>
            <a:lvl2pPr marL="171450" indent="-171450" algn="l" defTabSz="6858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lang="en-US" sz="1400" kern="1200" dirty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Nunito Sans" panose="00000500000000000000" pitchFamily="2" charset="0"/>
              </a:defRPr>
            </a:lvl2pPr>
            <a:lvl3pPr marL="342900" indent="-171450" algn="l" defTabSz="6858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lang="en-US" sz="1400" kern="1200" dirty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Nunito Sans" panose="00000500000000000000" pitchFamily="2" charset="0"/>
              </a:defRPr>
            </a:lvl3pPr>
            <a:lvl4pPr marL="514350" indent="-171450" algn="l" defTabSz="6858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Nunito Sans" panose="00000500000000000000" pitchFamily="2" charset="0"/>
              </a:defRPr>
            </a:lvl4pPr>
            <a:lvl5pPr marL="685800" indent="-171450" algn="l" defTabSz="6858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»"/>
              <a:defRPr lang="en-US" sz="1400" kern="1200" dirty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Nunito Sans" panose="00000500000000000000" pitchFamily="2" charset="0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79388">
              <a:lnSpc>
                <a:spcPct val="115000"/>
              </a:lnSpc>
              <a:spcAft>
                <a:spcPts val="0"/>
              </a:spcAft>
              <a:buSzPts val="1800"/>
            </a:pPr>
            <a:r>
              <a:rPr lang="en-US" sz="1000">
                <a:solidFill>
                  <a:srgbClr val="1A1E23"/>
                </a:solidFill>
                <a:latin typeface="Nunito Sans SemiBold"/>
                <a:ea typeface="Nunito Sans SemiBold"/>
                <a:cs typeface="Nunito Sans SemiBold"/>
                <a:sym typeface="Nunito Sans SemiBold"/>
              </a:rPr>
              <a:t>4.	There are the </a:t>
            </a:r>
            <a:r>
              <a:rPr lang="en-US" sz="1000">
                <a:solidFill>
                  <a:srgbClr val="1A1E23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rPr>
              <a:t>primary setting options</a:t>
            </a:r>
            <a:r>
              <a:rPr lang="en-US" sz="1000">
                <a:solidFill>
                  <a:srgbClr val="1A1E23"/>
                </a:solidFill>
                <a:latin typeface="Nunito Sans SemiBold"/>
                <a:ea typeface="Nunito Sans SemiBold"/>
                <a:cs typeface="Nunito Sans SemiBold"/>
                <a:sym typeface="Nunito Sans SemiBold"/>
              </a:rPr>
              <a:t>:</a:t>
            </a:r>
          </a:p>
          <a:p>
            <a:pPr marL="171450" indent="-171450">
              <a:lnSpc>
                <a:spcPct val="115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</a:pPr>
            <a:r>
              <a:rPr lang="en-US" sz="1000">
                <a:solidFill>
                  <a:srgbClr val="1A1E23"/>
                </a:solidFill>
                <a:latin typeface="Nunito Sans SemiBold"/>
                <a:ea typeface="Nunito Sans SemiBold"/>
                <a:cs typeface="Nunito Sans SemiBold"/>
                <a:sym typeface="Nunito Sans SemiBold"/>
              </a:rPr>
              <a:t>High-Performance Mode</a:t>
            </a:r>
          </a:p>
          <a:p>
            <a:pPr marL="171450" indent="-171450">
              <a:lnSpc>
                <a:spcPct val="115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</a:pPr>
            <a:r>
              <a:rPr lang="en-US" sz="1000">
                <a:solidFill>
                  <a:srgbClr val="1A1E23"/>
                </a:solidFill>
                <a:latin typeface="Nunito Sans SemiBold"/>
                <a:ea typeface="Nunito Sans SemiBold"/>
                <a:cs typeface="Nunito Sans SemiBold"/>
                <a:sym typeface="Nunito Sans SemiBold"/>
              </a:rPr>
              <a:t>Balanced Mode</a:t>
            </a:r>
          </a:p>
        </p:txBody>
      </p:sp>
      <p:sp>
        <p:nvSpPr>
          <p:cNvPr id="66" name="Google Shape;160;g28e41b112f6_0_189">
            <a:extLst>
              <a:ext uri="{FF2B5EF4-FFF2-40B4-BE49-F238E27FC236}">
                <a16:creationId xmlns:a16="http://schemas.microsoft.com/office/drawing/2014/main" id="{3879904C-B611-973C-55C7-C8BD00699AE0}"/>
              </a:ext>
            </a:extLst>
          </p:cNvPr>
          <p:cNvSpPr txBox="1">
            <a:spLocks/>
          </p:cNvSpPr>
          <p:nvPr/>
        </p:nvSpPr>
        <p:spPr>
          <a:xfrm>
            <a:off x="6574489" y="2687626"/>
            <a:ext cx="2875986" cy="86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lang="en-US" sz="1400" kern="1200" dirty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Nunito Sans" panose="00000500000000000000" pitchFamily="2" charset="0"/>
              </a:defRPr>
            </a:lvl1pPr>
            <a:lvl2pPr marL="171450" indent="-171450" algn="l" defTabSz="6858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lang="en-US" sz="1400" kern="1200" dirty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Nunito Sans" panose="00000500000000000000" pitchFamily="2" charset="0"/>
              </a:defRPr>
            </a:lvl2pPr>
            <a:lvl3pPr marL="342900" indent="-171450" algn="l" defTabSz="6858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lang="en-US" sz="1400" kern="1200" dirty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Nunito Sans" panose="00000500000000000000" pitchFamily="2" charset="0"/>
              </a:defRPr>
            </a:lvl3pPr>
            <a:lvl4pPr marL="514350" indent="-171450" algn="l" defTabSz="6858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Nunito Sans" panose="00000500000000000000" pitchFamily="2" charset="0"/>
              </a:defRPr>
            </a:lvl4pPr>
            <a:lvl5pPr marL="685800" indent="-171450" algn="l" defTabSz="6858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»"/>
              <a:defRPr lang="en-US" sz="1400" kern="1200" dirty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Nunito Sans" panose="00000500000000000000" pitchFamily="2" charset="0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79388">
              <a:lnSpc>
                <a:spcPct val="115000"/>
              </a:lnSpc>
              <a:spcAft>
                <a:spcPts val="0"/>
              </a:spcAft>
              <a:buSzPts val="1800"/>
            </a:pPr>
            <a:r>
              <a:rPr lang="en-US" sz="1000">
                <a:solidFill>
                  <a:srgbClr val="1A1E23"/>
                </a:solidFill>
                <a:latin typeface="Nunito Sans SemiBold"/>
                <a:ea typeface="Nunito Sans SemiBold"/>
                <a:cs typeface="Nunito Sans SemiBold"/>
                <a:sym typeface="Nunito Sans SemiBold"/>
              </a:rPr>
              <a:t>5.	High Performance is the </a:t>
            </a:r>
            <a:r>
              <a:rPr lang="en-US" sz="1000">
                <a:solidFill>
                  <a:srgbClr val="1A1E23"/>
                </a:solidFill>
                <a:latin typeface="Nunito Sans ExtraBold" panose="00000900000000000000" pitchFamily="2" charset="0"/>
                <a:ea typeface="Nunito Sans SemiBold"/>
                <a:cs typeface="Nunito Sans SemiBold"/>
                <a:sym typeface="Nunito Sans SemiBold"/>
              </a:rPr>
              <a:t>de facto </a:t>
            </a:r>
            <a:r>
              <a:rPr lang="en-US" sz="1000">
                <a:solidFill>
                  <a:srgbClr val="1A1E23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rPr>
              <a:t>standard</a:t>
            </a:r>
            <a:r>
              <a:rPr lang="en-US" sz="1000">
                <a:solidFill>
                  <a:srgbClr val="1A1E23"/>
                </a:solidFill>
                <a:latin typeface="Nunito Sans SemiBold"/>
                <a:ea typeface="Nunito Sans SemiBold"/>
                <a:cs typeface="Nunito Sans SemiBold"/>
                <a:sym typeface="Nunito Sans SemiBold"/>
              </a:rPr>
              <a:t>. It provides maximum performance. </a:t>
            </a:r>
          </a:p>
        </p:txBody>
      </p:sp>
      <p:sp>
        <p:nvSpPr>
          <p:cNvPr id="67" name="Google Shape;161;g28e41b112f6_0_189">
            <a:extLst>
              <a:ext uri="{FF2B5EF4-FFF2-40B4-BE49-F238E27FC236}">
                <a16:creationId xmlns:a16="http://schemas.microsoft.com/office/drawing/2014/main" id="{E51BE50B-C19B-BC59-4684-78B6DB09CB74}"/>
              </a:ext>
            </a:extLst>
          </p:cNvPr>
          <p:cNvSpPr txBox="1">
            <a:spLocks/>
          </p:cNvSpPr>
          <p:nvPr/>
        </p:nvSpPr>
        <p:spPr>
          <a:xfrm>
            <a:off x="6574488" y="3749025"/>
            <a:ext cx="3146875" cy="12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 lnSpcReduction="10000"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lang="en-US" sz="1400" kern="1200" dirty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Nunito Sans" panose="00000500000000000000" pitchFamily="2" charset="0"/>
              </a:defRPr>
            </a:lvl1pPr>
            <a:lvl2pPr marL="171450" indent="-171450" algn="l" defTabSz="6858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lang="en-US" sz="1400" kern="1200" dirty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Nunito Sans" panose="00000500000000000000" pitchFamily="2" charset="0"/>
              </a:defRPr>
            </a:lvl2pPr>
            <a:lvl3pPr marL="342900" indent="-171450" algn="l" defTabSz="6858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lang="en-US" sz="1400" kern="1200" dirty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Nunito Sans" panose="00000500000000000000" pitchFamily="2" charset="0"/>
              </a:defRPr>
            </a:lvl3pPr>
            <a:lvl4pPr marL="514350" indent="-171450" algn="l" defTabSz="6858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Nunito Sans" panose="00000500000000000000" pitchFamily="2" charset="0"/>
              </a:defRPr>
            </a:lvl4pPr>
            <a:lvl5pPr marL="685800" indent="-171450" algn="l" defTabSz="6858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»"/>
              <a:defRPr lang="en-US" sz="1400" kern="1200" dirty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Nunito Sans" panose="00000500000000000000" pitchFamily="2" charset="0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79388">
              <a:lnSpc>
                <a:spcPct val="115000"/>
              </a:lnSpc>
              <a:spcAft>
                <a:spcPts val="0"/>
              </a:spcAft>
              <a:buSzPts val="1800"/>
            </a:pPr>
            <a:r>
              <a:rPr lang="en-US" sz="1000">
                <a:solidFill>
                  <a:srgbClr val="1A1E23"/>
                </a:solidFill>
                <a:latin typeface="Nunito Sans SemiBold"/>
                <a:ea typeface="Nunito Sans SemiBold"/>
                <a:cs typeface="Nunito Sans SemiBold"/>
                <a:sym typeface="Nunito Sans SemiBold"/>
              </a:rPr>
              <a:t>6.	In High-Performance Mode, the energy consumption of the idle CPU is the same as working with full computing power. </a:t>
            </a:r>
          </a:p>
          <a:p>
            <a:pPr>
              <a:lnSpc>
                <a:spcPct val="115000"/>
              </a:lnSpc>
              <a:spcAft>
                <a:spcPts val="0"/>
              </a:spcAft>
              <a:buSzPts val="1800"/>
            </a:pPr>
            <a:endParaRPr lang="en-US" sz="1000">
              <a:solidFill>
                <a:srgbClr val="1A1E23"/>
              </a:solidFill>
              <a:latin typeface="Nunito Sans SemiBold"/>
              <a:ea typeface="Nunito Sans SemiBold"/>
              <a:cs typeface="Nunito Sans SemiBold"/>
              <a:sym typeface="Nunito Sans SemiBold"/>
            </a:endParaRPr>
          </a:p>
          <a:p>
            <a:pPr>
              <a:lnSpc>
                <a:spcPct val="115000"/>
              </a:lnSpc>
              <a:spcAft>
                <a:spcPts val="0"/>
              </a:spcAft>
              <a:buSzPts val="1800"/>
            </a:pPr>
            <a:r>
              <a:rPr lang="en-US" sz="1000">
                <a:solidFill>
                  <a:srgbClr val="1A1E23"/>
                </a:solidFill>
                <a:latin typeface="Nunito Sans SemiBold"/>
                <a:ea typeface="Nunito Sans SemiBold"/>
                <a:cs typeface="Nunito Sans SemiBold"/>
                <a:sym typeface="Nunito Sans SemiBold"/>
              </a:rPr>
              <a:t>On average this creates </a:t>
            </a:r>
            <a:r>
              <a:rPr lang="en-US" sz="1000">
                <a:solidFill>
                  <a:srgbClr val="1A1E23"/>
                </a:solidFill>
                <a:latin typeface="Nunito Sans Normal ExtraBold" pitchFamily="2" charset="0"/>
                <a:ea typeface="Nunito Sans SemiBold"/>
                <a:cs typeface="Nunito Sans SemiBold"/>
                <a:sym typeface="Nunito Sans SemiBold"/>
              </a:rPr>
              <a:t>up to </a:t>
            </a:r>
            <a:r>
              <a:rPr lang="en-US" sz="1000">
                <a:solidFill>
                  <a:srgbClr val="1A1E23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rPr>
              <a:t>40% energy waste</a:t>
            </a:r>
            <a:r>
              <a:rPr lang="en-US" sz="1000">
                <a:solidFill>
                  <a:srgbClr val="1A1E23"/>
                </a:solidFill>
                <a:latin typeface="Nunito Sans SemiBold"/>
                <a:ea typeface="Nunito Sans ExtraBold"/>
                <a:cs typeface="Nunito Sans ExtraBold"/>
                <a:sym typeface="Nunito Sans SemiBold"/>
              </a:rPr>
              <a:t> because the work does not need full power 24-7</a:t>
            </a:r>
            <a:r>
              <a:rPr lang="en-US" sz="1000">
                <a:solidFill>
                  <a:srgbClr val="1A1E23"/>
                </a:solidFill>
                <a:latin typeface="Nunito Sans SemiBold"/>
                <a:ea typeface="Nunito Sans SemiBold"/>
                <a:cs typeface="Nunito Sans SemiBold"/>
                <a:sym typeface="Nunito Sans SemiBold"/>
              </a:rPr>
              <a:t> </a:t>
            </a:r>
          </a:p>
        </p:txBody>
      </p:sp>
      <p:sp>
        <p:nvSpPr>
          <p:cNvPr id="68" name="Google Shape;162;g28e41b112f6_0_189">
            <a:extLst>
              <a:ext uri="{FF2B5EF4-FFF2-40B4-BE49-F238E27FC236}">
                <a16:creationId xmlns:a16="http://schemas.microsoft.com/office/drawing/2014/main" id="{3003CFC0-2ECB-1542-D919-3F863DE41E75}"/>
              </a:ext>
            </a:extLst>
          </p:cNvPr>
          <p:cNvSpPr/>
          <p:nvPr/>
        </p:nvSpPr>
        <p:spPr>
          <a:xfrm>
            <a:off x="6281640" y="2160166"/>
            <a:ext cx="89100" cy="891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9" name="Google Shape;163;g28e41b112f6_0_189">
            <a:extLst>
              <a:ext uri="{FF2B5EF4-FFF2-40B4-BE49-F238E27FC236}">
                <a16:creationId xmlns:a16="http://schemas.microsoft.com/office/drawing/2014/main" id="{5634146B-1124-32FA-6EB6-501390B36DED}"/>
              </a:ext>
            </a:extLst>
          </p:cNvPr>
          <p:cNvSpPr/>
          <p:nvPr/>
        </p:nvSpPr>
        <p:spPr>
          <a:xfrm>
            <a:off x="2049463" y="4064406"/>
            <a:ext cx="236294" cy="89226"/>
          </a:xfrm>
          <a:custGeom>
            <a:avLst/>
            <a:gdLst/>
            <a:ahLst/>
            <a:cxnLst/>
            <a:rect l="l" t="t" r="r" b="b"/>
            <a:pathLst>
              <a:path w="79964" h="30195" extrusionOk="0">
                <a:moveTo>
                  <a:pt x="833" y="30195"/>
                </a:moveTo>
                <a:lnTo>
                  <a:pt x="79964" y="29570"/>
                </a:lnTo>
                <a:lnTo>
                  <a:pt x="75591" y="19158"/>
                </a:lnTo>
                <a:lnTo>
                  <a:pt x="65387" y="14577"/>
                </a:lnTo>
                <a:lnTo>
                  <a:pt x="47062" y="14785"/>
                </a:lnTo>
                <a:lnTo>
                  <a:pt x="39774" y="2291"/>
                </a:lnTo>
                <a:lnTo>
                  <a:pt x="18325" y="20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70" name="Google Shape;164;g28e41b112f6_0_189">
            <a:extLst>
              <a:ext uri="{FF2B5EF4-FFF2-40B4-BE49-F238E27FC236}">
                <a16:creationId xmlns:a16="http://schemas.microsoft.com/office/drawing/2014/main" id="{1CBBF0D7-FBF0-1A7D-8463-7A1B5FC1AB5A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2038289" y="2779592"/>
            <a:ext cx="344204" cy="344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</p:pic>
      <p:pic>
        <p:nvPicPr>
          <p:cNvPr id="71" name="Google Shape;165;g28e41b112f6_0_189">
            <a:extLst>
              <a:ext uri="{FF2B5EF4-FFF2-40B4-BE49-F238E27FC236}">
                <a16:creationId xmlns:a16="http://schemas.microsoft.com/office/drawing/2014/main" id="{23D8B54E-B744-BB4F-F335-90F8B9965B3A}"/>
              </a:ext>
            </a:extLst>
          </p:cNvPr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2038289" y="3840986"/>
            <a:ext cx="344204" cy="344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</p:pic>
      <p:grpSp>
        <p:nvGrpSpPr>
          <p:cNvPr id="72" name="Google Shape;166;g28e41b112f6_0_189">
            <a:extLst>
              <a:ext uri="{FF2B5EF4-FFF2-40B4-BE49-F238E27FC236}">
                <a16:creationId xmlns:a16="http://schemas.microsoft.com/office/drawing/2014/main" id="{17DF7D41-B7C4-5C3C-F054-C61D94473C9E}"/>
              </a:ext>
            </a:extLst>
          </p:cNvPr>
          <p:cNvGrpSpPr/>
          <p:nvPr/>
        </p:nvGrpSpPr>
        <p:grpSpPr>
          <a:xfrm>
            <a:off x="6226409" y="2812713"/>
            <a:ext cx="199550" cy="277981"/>
            <a:chOff x="4456175" y="2618599"/>
            <a:chExt cx="393900" cy="548718"/>
          </a:xfrm>
          <a:solidFill>
            <a:schemeClr val="accent1"/>
          </a:solidFill>
        </p:grpSpPr>
        <p:sp>
          <p:nvSpPr>
            <p:cNvPr id="73" name="Google Shape;167;g28e41b112f6_0_189">
              <a:extLst>
                <a:ext uri="{FF2B5EF4-FFF2-40B4-BE49-F238E27FC236}">
                  <a16:creationId xmlns:a16="http://schemas.microsoft.com/office/drawing/2014/main" id="{D99ECEC7-187F-B3B3-385A-15B50EBA42B7}"/>
                </a:ext>
              </a:extLst>
            </p:cNvPr>
            <p:cNvSpPr/>
            <p:nvPr/>
          </p:nvSpPr>
          <p:spPr>
            <a:xfrm>
              <a:off x="4456175" y="2899717"/>
              <a:ext cx="89100" cy="267600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4" name="Google Shape;168;g28e41b112f6_0_189">
              <a:extLst>
                <a:ext uri="{FF2B5EF4-FFF2-40B4-BE49-F238E27FC236}">
                  <a16:creationId xmlns:a16="http://schemas.microsoft.com/office/drawing/2014/main" id="{81F9B865-B026-C0E7-86DA-7CD9B45676DC}"/>
                </a:ext>
              </a:extLst>
            </p:cNvPr>
            <p:cNvSpPr/>
            <p:nvPr/>
          </p:nvSpPr>
          <p:spPr>
            <a:xfrm>
              <a:off x="4608575" y="2823127"/>
              <a:ext cx="89100" cy="344100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5" name="Google Shape;169;g28e41b112f6_0_189">
              <a:extLst>
                <a:ext uri="{FF2B5EF4-FFF2-40B4-BE49-F238E27FC236}">
                  <a16:creationId xmlns:a16="http://schemas.microsoft.com/office/drawing/2014/main" id="{5764D5F8-501D-9F63-2633-BF0E0DAE337E}"/>
                </a:ext>
              </a:extLst>
            </p:cNvPr>
            <p:cNvSpPr/>
            <p:nvPr/>
          </p:nvSpPr>
          <p:spPr>
            <a:xfrm>
              <a:off x="4760975" y="2618599"/>
              <a:ext cx="89100" cy="548700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pic>
        <p:nvPicPr>
          <p:cNvPr id="76" name="Google Shape;170;g28e41b112f6_0_189">
            <a:extLst>
              <a:ext uri="{FF2B5EF4-FFF2-40B4-BE49-F238E27FC236}">
                <a16:creationId xmlns:a16="http://schemas.microsoft.com/office/drawing/2014/main" id="{9CB67F68-563D-827B-4220-450F6F4B6216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6153088" y="1865186"/>
            <a:ext cx="344203" cy="344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</p:pic>
      <p:pic>
        <p:nvPicPr>
          <p:cNvPr id="77" name="Google Shape;171;g28e41b112f6_0_189">
            <a:extLst>
              <a:ext uri="{FF2B5EF4-FFF2-40B4-BE49-F238E27FC236}">
                <a16:creationId xmlns:a16="http://schemas.microsoft.com/office/drawing/2014/main" id="{7DBEC514-7CE9-0D49-4E5A-037D53C17D5F}"/>
              </a:ext>
            </a:extLst>
          </p:cNvPr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6154086" y="2786641"/>
            <a:ext cx="344204" cy="344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</p:pic>
      <p:sp>
        <p:nvSpPr>
          <p:cNvPr id="78" name="Google Shape;172;g28e41b112f6_0_189">
            <a:extLst>
              <a:ext uri="{FF2B5EF4-FFF2-40B4-BE49-F238E27FC236}">
                <a16:creationId xmlns:a16="http://schemas.microsoft.com/office/drawing/2014/main" id="{DE121289-D63D-C83D-1B87-BB2146B0F316}"/>
              </a:ext>
            </a:extLst>
          </p:cNvPr>
          <p:cNvSpPr/>
          <p:nvPr/>
        </p:nvSpPr>
        <p:spPr>
          <a:xfrm>
            <a:off x="6302278" y="3979664"/>
            <a:ext cx="45900" cy="459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9" name="Google Shape;173;g28e41b112f6_0_189">
            <a:extLst>
              <a:ext uri="{FF2B5EF4-FFF2-40B4-BE49-F238E27FC236}">
                <a16:creationId xmlns:a16="http://schemas.microsoft.com/office/drawing/2014/main" id="{A7A792DE-4136-8BD3-3E3C-461660CACC6F}"/>
              </a:ext>
            </a:extLst>
          </p:cNvPr>
          <p:cNvSpPr/>
          <p:nvPr/>
        </p:nvSpPr>
        <p:spPr>
          <a:xfrm>
            <a:off x="6263833" y="4068315"/>
            <a:ext cx="122700" cy="3960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80" name="Google Shape;174;g28e41b112f6_0_189">
            <a:extLst>
              <a:ext uri="{FF2B5EF4-FFF2-40B4-BE49-F238E27FC236}">
                <a16:creationId xmlns:a16="http://schemas.microsoft.com/office/drawing/2014/main" id="{F044C29C-40FE-C828-3EE7-13724B87475A}"/>
              </a:ext>
            </a:extLst>
          </p:cNvPr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6153088" y="3840986"/>
            <a:ext cx="344203" cy="344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</p:pic>
      <p:sp>
        <p:nvSpPr>
          <p:cNvPr id="20" name="Freeform: Shape 32">
            <a:extLst>
              <a:ext uri="{FF2B5EF4-FFF2-40B4-BE49-F238E27FC236}">
                <a16:creationId xmlns:a16="http://schemas.microsoft.com/office/drawing/2014/main" id="{AA02A158-8D24-F4BB-79E0-69FDE9A206F9}"/>
              </a:ext>
            </a:extLst>
          </p:cNvPr>
          <p:cNvSpPr/>
          <p:nvPr/>
        </p:nvSpPr>
        <p:spPr>
          <a:xfrm>
            <a:off x="135239" y="1750216"/>
            <a:ext cx="1584436" cy="2486024"/>
          </a:xfrm>
          <a:custGeom>
            <a:avLst/>
            <a:gdLst>
              <a:gd name="connsiteX0" fmla="*/ 1492124 w 4238171"/>
              <a:gd name="connsiteY0" fmla="*/ 0 h 5714999"/>
              <a:gd name="connsiteX1" fmla="*/ 2399954 w 4238171"/>
              <a:gd name="connsiteY1" fmla="*/ 0 h 5714999"/>
              <a:gd name="connsiteX2" fmla="*/ 2399954 w 4238171"/>
              <a:gd name="connsiteY2" fmla="*/ 1583015 h 5714999"/>
              <a:gd name="connsiteX3" fmla="*/ 4238171 w 4238171"/>
              <a:gd name="connsiteY3" fmla="*/ 1583015 h 5714999"/>
              <a:gd name="connsiteX4" fmla="*/ 4238171 w 4238171"/>
              <a:gd name="connsiteY4" fmla="*/ 3290002 h 5714999"/>
              <a:gd name="connsiteX5" fmla="*/ 3175707 w 4238171"/>
              <a:gd name="connsiteY5" fmla="*/ 5714999 h 5714999"/>
              <a:gd name="connsiteX6" fmla="*/ 2399954 w 4238171"/>
              <a:gd name="connsiteY6" fmla="*/ 5714999 h 5714999"/>
              <a:gd name="connsiteX7" fmla="*/ 2399954 w 4238171"/>
              <a:gd name="connsiteY7" fmla="*/ 3830530 h 5714999"/>
              <a:gd name="connsiteX8" fmla="*/ 155673 w 4238171"/>
              <a:gd name="connsiteY8" fmla="*/ 3830530 h 5714999"/>
              <a:gd name="connsiteX9" fmla="*/ 0 w 4238171"/>
              <a:gd name="connsiteY9" fmla="*/ 3405665 h 5714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238171" h="5714999">
                <a:moveTo>
                  <a:pt x="1492124" y="0"/>
                </a:moveTo>
                <a:lnTo>
                  <a:pt x="2399954" y="0"/>
                </a:lnTo>
                <a:lnTo>
                  <a:pt x="2399954" y="1583015"/>
                </a:lnTo>
                <a:lnTo>
                  <a:pt x="4238171" y="1583015"/>
                </a:lnTo>
                <a:lnTo>
                  <a:pt x="4238171" y="3290002"/>
                </a:lnTo>
                <a:lnTo>
                  <a:pt x="3175707" y="5714999"/>
                </a:lnTo>
                <a:lnTo>
                  <a:pt x="2399954" y="5714999"/>
                </a:lnTo>
                <a:lnTo>
                  <a:pt x="2399954" y="3830530"/>
                </a:lnTo>
                <a:lnTo>
                  <a:pt x="155673" y="3830530"/>
                </a:lnTo>
                <a:lnTo>
                  <a:pt x="0" y="3405665"/>
                </a:ln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algn="ctr"/>
            <a:r>
              <a:rPr lang="en-US" sz="1000">
                <a:solidFill>
                  <a:schemeClr val="bg1"/>
                </a:solidFill>
              </a:rPr>
              <a:t>   How avoidable waste became the de facto standard</a:t>
            </a:r>
          </a:p>
        </p:txBody>
      </p:sp>
    </p:spTree>
    <p:extLst>
      <p:ext uri="{BB962C8B-B14F-4D97-AF65-F5344CB8AC3E}">
        <p14:creationId xmlns:p14="http://schemas.microsoft.com/office/powerpoint/2010/main" val="10714909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9" grpId="0" animBg="1"/>
      <p:bldP spid="60" grpId="0"/>
      <p:bldP spid="62" grpId="0"/>
      <p:bldP spid="63" grpId="0"/>
      <p:bldP spid="64" grpId="0" animBg="1"/>
      <p:bldP spid="65" grpId="0"/>
      <p:bldP spid="66" grpId="0"/>
      <p:bldP spid="67" grpId="0"/>
      <p:bldP spid="68" grpId="0" animBg="1"/>
      <p:bldP spid="69" grpId="0" animBg="1"/>
      <p:bldP spid="78" grpId="0" animBg="1"/>
      <p:bldP spid="79" grpId="0" animBg="1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490C05-E317-6CA6-A9A5-C1AC2A9800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13C06AE-7D3D-D689-E080-AFFD660D5CB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13C06AE-7D3D-D689-E080-AFFD660D5C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575D66B-B90B-091B-1FA5-EBF27BDD29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191" y="423411"/>
            <a:ext cx="9511552" cy="369332"/>
          </a:xfr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b="1"/>
              <a:t>Save energy, save money, save co2 just do it?!</a:t>
            </a:r>
            <a:endParaRPr lang="nl-NL" b="1"/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2235755C-F3C5-DADE-7545-BC1F1E3107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2275" y="1556834"/>
            <a:ext cx="5962650" cy="33125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25550074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6059B07-8AC3-3088-4FD8-C42C5DC387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74A96F7-F55F-5C13-AEBA-5F44212ED1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74A96F7-F55F-5C13-AEBA-5F44212ED1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F8F6B43-E206-E400-7AD1-518788A782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191" y="423411"/>
            <a:ext cx="9511552" cy="369332"/>
          </a:xfr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b="1"/>
              <a:t>Why is it so hard to </a:t>
            </a:r>
            <a:r>
              <a:rPr lang="en-US" b="1" i="1"/>
              <a:t>balance? </a:t>
            </a:r>
            <a:endParaRPr lang="nl-NL" b="1"/>
          </a:p>
        </p:txBody>
      </p:sp>
      <p:sp>
        <p:nvSpPr>
          <p:cNvPr id="7" name="Google Shape;183;g28e41b112f6_0_117">
            <a:extLst>
              <a:ext uri="{FF2B5EF4-FFF2-40B4-BE49-F238E27FC236}">
                <a16:creationId xmlns:a16="http://schemas.microsoft.com/office/drawing/2014/main" id="{20FB1EB2-4F0B-D5D4-3ABD-93F4C14426A8}"/>
              </a:ext>
            </a:extLst>
          </p:cNvPr>
          <p:cNvSpPr txBox="1">
            <a:spLocks/>
          </p:cNvSpPr>
          <p:nvPr/>
        </p:nvSpPr>
        <p:spPr>
          <a:xfrm>
            <a:off x="809127" y="1586750"/>
            <a:ext cx="2561400" cy="12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lang="en-US" sz="1400" kern="1200" dirty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Nunito Sans" panose="00000500000000000000" pitchFamily="2" charset="0"/>
              </a:defRPr>
            </a:lvl1pPr>
            <a:lvl2pPr marL="171450" indent="-171450" algn="l" defTabSz="6858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lang="en-US" sz="1400" kern="1200" dirty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Nunito Sans" panose="00000500000000000000" pitchFamily="2" charset="0"/>
              </a:defRPr>
            </a:lvl2pPr>
            <a:lvl3pPr marL="342900" indent="-171450" algn="l" defTabSz="6858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lang="en-US" sz="1400" kern="1200" dirty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Nunito Sans" panose="00000500000000000000" pitchFamily="2" charset="0"/>
              </a:defRPr>
            </a:lvl3pPr>
            <a:lvl4pPr marL="514350" indent="-171450" algn="l" defTabSz="6858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Nunito Sans" panose="00000500000000000000" pitchFamily="2" charset="0"/>
              </a:defRPr>
            </a:lvl4pPr>
            <a:lvl5pPr marL="685800" indent="-171450" algn="l" defTabSz="6858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»"/>
              <a:defRPr lang="en-US" sz="1400" kern="1200" dirty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Nunito Sans" panose="00000500000000000000" pitchFamily="2" charset="0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15000"/>
              </a:lnSpc>
              <a:spcAft>
                <a:spcPts val="0"/>
              </a:spcAft>
              <a:buSzPts val="1800"/>
            </a:pPr>
            <a:r>
              <a:rPr lang="en-US" sz="1000">
                <a:solidFill>
                  <a:schemeClr val="accent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rPr>
              <a:t>KPI’s</a:t>
            </a:r>
            <a:br>
              <a:rPr lang="en-US" sz="1000">
                <a:latin typeface="Nunito Sans SemiBold"/>
                <a:ea typeface="Nunito Sans SemiBold"/>
                <a:cs typeface="Nunito Sans SemiBold"/>
                <a:sym typeface="Nunito Sans SemiBold"/>
              </a:rPr>
            </a:br>
            <a:r>
              <a:rPr lang="en-US" sz="1000">
                <a:solidFill>
                  <a:srgbClr val="1A1E23"/>
                </a:solidFill>
                <a:latin typeface="Nunito Sans SemiBold"/>
                <a:ea typeface="Nunito Sans SemiBold"/>
                <a:cs typeface="Nunito Sans SemiBold"/>
                <a:sym typeface="Nunito Sans SemiBold"/>
              </a:rPr>
              <a:t>End User Experience is an important KPI. </a:t>
            </a:r>
            <a:br>
              <a:rPr lang="en-US" sz="1000">
                <a:solidFill>
                  <a:srgbClr val="1A1E23"/>
                </a:solidFill>
                <a:latin typeface="Nunito Sans SemiBold"/>
                <a:ea typeface="Nunito Sans SemiBold"/>
                <a:cs typeface="Nunito Sans SemiBold"/>
                <a:sym typeface="Nunito Sans SemiBold"/>
              </a:rPr>
            </a:br>
            <a:r>
              <a:rPr lang="en-US" sz="1000">
                <a:solidFill>
                  <a:srgbClr val="1A1E23"/>
                </a:solidFill>
                <a:latin typeface="Nunito Sans SemiBold"/>
                <a:ea typeface="Nunito Sans SemiBold"/>
                <a:cs typeface="Nunito Sans SemiBold"/>
                <a:sym typeface="Nunito Sans SemiBold"/>
              </a:rPr>
              <a:t>To keep performance high, High Performance Mode is the </a:t>
            </a:r>
            <a:r>
              <a:rPr lang="en-US" sz="1000">
                <a:solidFill>
                  <a:srgbClr val="1A1E23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rPr>
              <a:t>safe choice</a:t>
            </a:r>
            <a:r>
              <a:rPr lang="en-US" sz="1000">
                <a:solidFill>
                  <a:srgbClr val="1A1E23"/>
                </a:solidFill>
                <a:latin typeface="Nunito Sans SemiBold"/>
                <a:ea typeface="Nunito Sans SemiBold"/>
                <a:cs typeface="Nunito Sans SemiBold"/>
                <a:sym typeface="Nunito Sans SemiBold"/>
              </a:rPr>
              <a:t>.</a:t>
            </a:r>
          </a:p>
        </p:txBody>
      </p:sp>
      <p:sp>
        <p:nvSpPr>
          <p:cNvPr id="8" name="Google Shape;185;g28e41b112f6_0_117">
            <a:extLst>
              <a:ext uri="{FF2B5EF4-FFF2-40B4-BE49-F238E27FC236}">
                <a16:creationId xmlns:a16="http://schemas.microsoft.com/office/drawing/2014/main" id="{D2F1F11D-3B16-1A5F-FFF2-76A471DCF0D3}"/>
              </a:ext>
            </a:extLst>
          </p:cNvPr>
          <p:cNvSpPr/>
          <p:nvPr/>
        </p:nvSpPr>
        <p:spPr>
          <a:xfrm>
            <a:off x="3631500" y="1849250"/>
            <a:ext cx="1881000" cy="1881000"/>
          </a:xfrm>
          <a:prstGeom prst="rect">
            <a:avLst/>
          </a:prstGeom>
          <a:noFill/>
          <a:ln w="19050" cap="flat" cmpd="sng">
            <a:solidFill>
              <a:schemeClr val="accent2"/>
            </a:solidFill>
            <a:prstDash val="dot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" name="Google Shape;186;g28e41b112f6_0_117">
            <a:extLst>
              <a:ext uri="{FF2B5EF4-FFF2-40B4-BE49-F238E27FC236}">
                <a16:creationId xmlns:a16="http://schemas.microsoft.com/office/drawing/2014/main" id="{57A8F93C-881D-C412-9EB0-1366147129D5}"/>
              </a:ext>
            </a:extLst>
          </p:cNvPr>
          <p:cNvSpPr/>
          <p:nvPr/>
        </p:nvSpPr>
        <p:spPr>
          <a:xfrm>
            <a:off x="3445200" y="1662950"/>
            <a:ext cx="414900" cy="4149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" name="Google Shape;187;g28e41b112f6_0_117">
            <a:extLst>
              <a:ext uri="{FF2B5EF4-FFF2-40B4-BE49-F238E27FC236}">
                <a16:creationId xmlns:a16="http://schemas.microsoft.com/office/drawing/2014/main" id="{1F485862-5C76-1C57-917C-060A97ACBC96}"/>
              </a:ext>
            </a:extLst>
          </p:cNvPr>
          <p:cNvSpPr/>
          <p:nvPr/>
        </p:nvSpPr>
        <p:spPr>
          <a:xfrm>
            <a:off x="5283900" y="1662950"/>
            <a:ext cx="414900" cy="4149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" name="Google Shape;188;g28e41b112f6_0_117">
            <a:extLst>
              <a:ext uri="{FF2B5EF4-FFF2-40B4-BE49-F238E27FC236}">
                <a16:creationId xmlns:a16="http://schemas.microsoft.com/office/drawing/2014/main" id="{35FB0F11-86C5-2FA3-C1F5-0CB7649B4B98}"/>
              </a:ext>
            </a:extLst>
          </p:cNvPr>
          <p:cNvSpPr/>
          <p:nvPr/>
        </p:nvSpPr>
        <p:spPr>
          <a:xfrm>
            <a:off x="3445200" y="3501650"/>
            <a:ext cx="414900" cy="4149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" name="Google Shape;189;g28e41b112f6_0_117">
            <a:extLst>
              <a:ext uri="{FF2B5EF4-FFF2-40B4-BE49-F238E27FC236}">
                <a16:creationId xmlns:a16="http://schemas.microsoft.com/office/drawing/2014/main" id="{10E145F3-3694-9A12-AD7C-551FB7F85BC8}"/>
              </a:ext>
            </a:extLst>
          </p:cNvPr>
          <p:cNvSpPr/>
          <p:nvPr/>
        </p:nvSpPr>
        <p:spPr>
          <a:xfrm>
            <a:off x="5283900" y="3501650"/>
            <a:ext cx="414900" cy="4149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" name="Google Shape;190;g28e41b112f6_0_117">
            <a:extLst>
              <a:ext uri="{FF2B5EF4-FFF2-40B4-BE49-F238E27FC236}">
                <a16:creationId xmlns:a16="http://schemas.microsoft.com/office/drawing/2014/main" id="{902C9E90-8088-F811-F9D7-2B6A240477B0}"/>
              </a:ext>
            </a:extLst>
          </p:cNvPr>
          <p:cNvSpPr txBox="1">
            <a:spLocks/>
          </p:cNvSpPr>
          <p:nvPr/>
        </p:nvSpPr>
        <p:spPr>
          <a:xfrm>
            <a:off x="3631500" y="2201375"/>
            <a:ext cx="1881000" cy="117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lang="en-US" sz="1400" kern="1200" dirty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Nunito Sans" panose="00000500000000000000" pitchFamily="2" charset="0"/>
              </a:defRPr>
            </a:lvl1pPr>
            <a:lvl2pPr marL="171450" indent="-171450" algn="l" defTabSz="6858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lang="en-US" sz="1400" kern="1200" dirty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Nunito Sans" panose="00000500000000000000" pitchFamily="2" charset="0"/>
              </a:defRPr>
            </a:lvl2pPr>
            <a:lvl3pPr marL="342900" indent="-171450" algn="l" defTabSz="6858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lang="en-US" sz="1400" kern="1200" dirty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Nunito Sans" panose="00000500000000000000" pitchFamily="2" charset="0"/>
              </a:defRPr>
            </a:lvl3pPr>
            <a:lvl4pPr marL="514350" indent="-171450" algn="l" defTabSz="6858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Nunito Sans" panose="00000500000000000000" pitchFamily="2" charset="0"/>
              </a:defRPr>
            </a:lvl4pPr>
            <a:lvl5pPr marL="685800" indent="-171450" algn="l" defTabSz="6858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»"/>
              <a:defRPr lang="en-US" sz="1400" kern="1200" dirty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Nunito Sans" panose="00000500000000000000" pitchFamily="2" charset="0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15000"/>
              </a:lnSpc>
              <a:spcAft>
                <a:spcPts val="0"/>
              </a:spcAft>
              <a:buSzPts val="1800"/>
            </a:pPr>
            <a:r>
              <a:rPr lang="en-GB" sz="1300">
                <a:solidFill>
                  <a:schemeClr val="accent1"/>
                </a:solidFill>
                <a:latin typeface="Nunito Sans SemiBold"/>
                <a:ea typeface="Nunito Sans SemiBold"/>
                <a:cs typeface="Nunito Sans SemiBold"/>
                <a:sym typeface="Nunito Sans SemiBold"/>
              </a:rPr>
              <a:t>High-Performance</a:t>
            </a:r>
          </a:p>
          <a:p>
            <a:pPr algn="ctr">
              <a:lnSpc>
                <a:spcPct val="115000"/>
              </a:lnSpc>
              <a:spcAft>
                <a:spcPts val="0"/>
              </a:spcAft>
              <a:buSzPts val="1800"/>
            </a:pPr>
            <a:r>
              <a:rPr lang="en-GB" sz="1300">
                <a:solidFill>
                  <a:schemeClr val="accent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rPr>
              <a:t> lock-in</a:t>
            </a:r>
          </a:p>
        </p:txBody>
      </p:sp>
      <p:sp>
        <p:nvSpPr>
          <p:cNvPr id="16" name="Google Shape;191;g28e41b112f6_0_117">
            <a:extLst>
              <a:ext uri="{FF2B5EF4-FFF2-40B4-BE49-F238E27FC236}">
                <a16:creationId xmlns:a16="http://schemas.microsoft.com/office/drawing/2014/main" id="{FFB81F58-8981-5B94-811F-A7ACDDC14993}"/>
              </a:ext>
            </a:extLst>
          </p:cNvPr>
          <p:cNvSpPr txBox="1">
            <a:spLocks/>
          </p:cNvSpPr>
          <p:nvPr/>
        </p:nvSpPr>
        <p:spPr>
          <a:xfrm>
            <a:off x="809127" y="3425450"/>
            <a:ext cx="2561400" cy="108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lang="en-US" sz="1400" kern="1200" dirty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Nunito Sans" panose="00000500000000000000" pitchFamily="2" charset="0"/>
              </a:defRPr>
            </a:lvl1pPr>
            <a:lvl2pPr marL="171450" indent="-171450" algn="l" defTabSz="6858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lang="en-US" sz="1400" kern="1200" dirty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Nunito Sans" panose="00000500000000000000" pitchFamily="2" charset="0"/>
              </a:defRPr>
            </a:lvl2pPr>
            <a:lvl3pPr marL="342900" indent="-171450" algn="l" defTabSz="6858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lang="en-US" sz="1400" kern="1200" dirty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Nunito Sans" panose="00000500000000000000" pitchFamily="2" charset="0"/>
              </a:defRPr>
            </a:lvl3pPr>
            <a:lvl4pPr marL="514350" indent="-171450" algn="l" defTabSz="6858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Nunito Sans" panose="00000500000000000000" pitchFamily="2" charset="0"/>
              </a:defRPr>
            </a:lvl4pPr>
            <a:lvl5pPr marL="685800" indent="-171450" algn="l" defTabSz="6858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»"/>
              <a:defRPr lang="en-US" sz="1400" kern="1200" dirty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Nunito Sans" panose="00000500000000000000" pitchFamily="2" charset="0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15000"/>
              </a:lnSpc>
              <a:spcAft>
                <a:spcPts val="0"/>
              </a:spcAft>
              <a:buSzPts val="1800"/>
            </a:pPr>
            <a:r>
              <a:rPr lang="en-US" sz="1000">
                <a:solidFill>
                  <a:schemeClr val="accent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rPr>
              <a:t>Myths</a:t>
            </a:r>
            <a:br>
              <a:rPr lang="en-US" sz="1000">
                <a:solidFill>
                  <a:schemeClr val="accent1"/>
                </a:solidFill>
                <a:latin typeface="Nunito Sans SemiBold"/>
                <a:ea typeface="Nunito Sans SemiBold"/>
                <a:cs typeface="Nunito Sans SemiBold"/>
                <a:sym typeface="Nunito Sans SemiBold"/>
              </a:rPr>
            </a:br>
            <a:r>
              <a:rPr lang="en-US" sz="1000">
                <a:solidFill>
                  <a:srgbClr val="1A1E23"/>
                </a:solidFill>
                <a:latin typeface="Nunito Sans SemiBold"/>
                <a:ea typeface="Nunito Sans SemiBold"/>
                <a:cs typeface="Nunito Sans SemiBold"/>
                <a:sym typeface="Nunito Sans SemiBold"/>
              </a:rPr>
              <a:t>Balanced mode has reputation damage. Even professionals think that balanced mode equals lower performance. </a:t>
            </a:r>
            <a:br>
              <a:rPr lang="en-US" sz="1000">
                <a:solidFill>
                  <a:srgbClr val="1A1E23"/>
                </a:solidFill>
                <a:latin typeface="Nunito Sans SemiBold"/>
                <a:ea typeface="Nunito Sans SemiBold"/>
                <a:cs typeface="Nunito Sans SemiBold"/>
                <a:sym typeface="Nunito Sans SemiBold"/>
              </a:rPr>
            </a:br>
            <a:r>
              <a:rPr lang="en-US" sz="1000">
                <a:solidFill>
                  <a:srgbClr val="1A1E23"/>
                </a:solidFill>
                <a:latin typeface="Nunito Sans SemiBold"/>
                <a:ea typeface="Nunito Sans SemiBold"/>
                <a:cs typeface="Nunito Sans SemiBold"/>
                <a:sym typeface="Nunito Sans SemiBold"/>
              </a:rPr>
              <a:t>This is </a:t>
            </a:r>
            <a:r>
              <a:rPr lang="en-US" sz="1000">
                <a:solidFill>
                  <a:srgbClr val="1A1E23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rPr>
              <a:t>not true</a:t>
            </a:r>
            <a:r>
              <a:rPr lang="en-US" sz="1000">
                <a:solidFill>
                  <a:srgbClr val="1A1E23"/>
                </a:solidFill>
                <a:latin typeface="Nunito Sans SemiBold"/>
                <a:ea typeface="Nunito Sans SemiBold"/>
                <a:cs typeface="Nunito Sans SemiBold"/>
                <a:sym typeface="Nunito Sans SemiBold"/>
              </a:rPr>
              <a:t>.</a:t>
            </a:r>
            <a:r>
              <a:rPr lang="en-US" sz="1000">
                <a:latin typeface="Nunito Sans SemiBold"/>
                <a:ea typeface="Nunito Sans SemiBold"/>
                <a:cs typeface="Nunito Sans SemiBold"/>
                <a:sym typeface="Nunito Sans SemiBold"/>
              </a:rPr>
              <a:t> </a:t>
            </a:r>
          </a:p>
        </p:txBody>
      </p:sp>
      <p:sp>
        <p:nvSpPr>
          <p:cNvPr id="17" name="Google Shape;192;g28e41b112f6_0_117">
            <a:extLst>
              <a:ext uri="{FF2B5EF4-FFF2-40B4-BE49-F238E27FC236}">
                <a16:creationId xmlns:a16="http://schemas.microsoft.com/office/drawing/2014/main" id="{698D6306-313A-3117-8466-A93305A85686}"/>
              </a:ext>
            </a:extLst>
          </p:cNvPr>
          <p:cNvSpPr txBox="1">
            <a:spLocks/>
          </p:cNvSpPr>
          <p:nvPr/>
        </p:nvSpPr>
        <p:spPr>
          <a:xfrm>
            <a:off x="5793650" y="1586750"/>
            <a:ext cx="2561400" cy="12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lang="en-US" sz="1400" kern="1200" dirty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Nunito Sans" panose="00000500000000000000" pitchFamily="2" charset="0"/>
              </a:defRPr>
            </a:lvl1pPr>
            <a:lvl2pPr marL="171450" indent="-171450" algn="l" defTabSz="6858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lang="en-US" sz="1400" kern="1200" dirty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Nunito Sans" panose="00000500000000000000" pitchFamily="2" charset="0"/>
              </a:defRPr>
            </a:lvl2pPr>
            <a:lvl3pPr marL="342900" indent="-171450" algn="l" defTabSz="6858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lang="en-US" sz="1400" kern="1200" dirty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Nunito Sans" panose="00000500000000000000" pitchFamily="2" charset="0"/>
              </a:defRPr>
            </a:lvl3pPr>
            <a:lvl4pPr marL="514350" indent="-171450" algn="l" defTabSz="6858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Nunito Sans" panose="00000500000000000000" pitchFamily="2" charset="0"/>
              </a:defRPr>
            </a:lvl4pPr>
            <a:lvl5pPr marL="685800" indent="-171450" algn="l" defTabSz="6858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»"/>
              <a:defRPr lang="en-US" sz="1400" kern="1200" dirty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Nunito Sans" panose="00000500000000000000" pitchFamily="2" charset="0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5000"/>
              </a:lnSpc>
              <a:spcAft>
                <a:spcPts val="0"/>
              </a:spcAft>
              <a:buSzPts val="1800"/>
            </a:pPr>
            <a:r>
              <a:rPr lang="en-US" sz="1000">
                <a:solidFill>
                  <a:schemeClr val="accent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rPr>
              <a:t>Mission Critical</a:t>
            </a:r>
            <a:br>
              <a:rPr lang="en-US" sz="1000">
                <a:latin typeface="Nunito Sans SemiBold"/>
                <a:ea typeface="Nunito Sans SemiBold"/>
                <a:cs typeface="Nunito Sans SemiBold"/>
                <a:sym typeface="Nunito Sans SemiBold"/>
              </a:rPr>
            </a:br>
            <a:r>
              <a:rPr lang="en-US" sz="1000">
                <a:solidFill>
                  <a:srgbClr val="1A1E23"/>
                </a:solidFill>
                <a:latin typeface="Nunito Sans SemiBold"/>
                <a:ea typeface="Nunito Sans SemiBold"/>
                <a:cs typeface="Nunito Sans SemiBold"/>
                <a:sym typeface="Nunito Sans SemiBold"/>
              </a:rPr>
              <a:t>The </a:t>
            </a:r>
            <a:r>
              <a:rPr lang="en-US" sz="1000">
                <a:solidFill>
                  <a:srgbClr val="1A1E23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rPr>
              <a:t>mission-critical applications</a:t>
            </a:r>
            <a:r>
              <a:rPr lang="en-US" sz="1000">
                <a:solidFill>
                  <a:srgbClr val="1A1E23"/>
                </a:solidFill>
                <a:latin typeface="Nunito Sans SemiBold"/>
                <a:ea typeface="Nunito Sans SemiBold"/>
                <a:cs typeface="Nunito Sans SemiBold"/>
                <a:sym typeface="Nunito Sans SemiBold"/>
              </a:rPr>
              <a:t> should always perform optimally. High-Performance Mode ensures optimal results from the CPU. </a:t>
            </a:r>
          </a:p>
        </p:txBody>
      </p:sp>
      <p:sp>
        <p:nvSpPr>
          <p:cNvPr id="18" name="Google Shape;193;g28e41b112f6_0_117">
            <a:extLst>
              <a:ext uri="{FF2B5EF4-FFF2-40B4-BE49-F238E27FC236}">
                <a16:creationId xmlns:a16="http://schemas.microsoft.com/office/drawing/2014/main" id="{DF482E7A-0968-DA30-1D80-EC1F60A5DAB5}"/>
              </a:ext>
            </a:extLst>
          </p:cNvPr>
          <p:cNvSpPr txBox="1">
            <a:spLocks/>
          </p:cNvSpPr>
          <p:nvPr/>
        </p:nvSpPr>
        <p:spPr>
          <a:xfrm>
            <a:off x="5793650" y="3425450"/>
            <a:ext cx="3195600" cy="173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lang="en-US" sz="1400" kern="1200" dirty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Nunito Sans" panose="00000500000000000000" pitchFamily="2" charset="0"/>
              </a:defRPr>
            </a:lvl1pPr>
            <a:lvl2pPr marL="171450" indent="-171450" algn="l" defTabSz="6858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lang="en-US" sz="1400" kern="1200" dirty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Nunito Sans" panose="00000500000000000000" pitchFamily="2" charset="0"/>
              </a:defRPr>
            </a:lvl2pPr>
            <a:lvl3pPr marL="342900" indent="-171450" algn="l" defTabSz="6858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lang="en-US" sz="1400" kern="1200" dirty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Nunito Sans" panose="00000500000000000000" pitchFamily="2" charset="0"/>
              </a:defRPr>
            </a:lvl3pPr>
            <a:lvl4pPr marL="514350" indent="-171450" algn="l" defTabSz="6858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Nunito Sans" panose="00000500000000000000" pitchFamily="2" charset="0"/>
              </a:defRPr>
            </a:lvl4pPr>
            <a:lvl5pPr marL="685800" indent="-171450" algn="l" defTabSz="6858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»"/>
              <a:defRPr lang="en-US" sz="1400" kern="1200" dirty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Nunito Sans" panose="00000500000000000000" pitchFamily="2" charset="0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5000"/>
              </a:lnSpc>
              <a:spcAft>
                <a:spcPts val="0"/>
              </a:spcAft>
              <a:buSzPts val="1800"/>
            </a:pPr>
            <a:r>
              <a:rPr lang="en-US" sz="1000">
                <a:solidFill>
                  <a:schemeClr val="accent1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rPr>
              <a:t>Lack of overview</a:t>
            </a:r>
            <a:br>
              <a:rPr lang="en-US" sz="1000">
                <a:latin typeface="Nunito Sans SemiBold"/>
                <a:ea typeface="Nunito Sans SemiBold"/>
                <a:cs typeface="Nunito Sans SemiBold"/>
                <a:sym typeface="Nunito Sans SemiBold"/>
              </a:rPr>
            </a:br>
            <a:r>
              <a:rPr lang="en-US" sz="1000">
                <a:solidFill>
                  <a:srgbClr val="1A1E23"/>
                </a:solidFill>
                <a:latin typeface="Nunito Sans SemiBold"/>
                <a:ea typeface="Nunito Sans SemiBold"/>
                <a:cs typeface="Nunito Sans SemiBold"/>
                <a:sym typeface="Nunito Sans SemiBold"/>
              </a:rPr>
              <a:t>Often there isn’t a clear overview of which servers:</a:t>
            </a:r>
          </a:p>
          <a:p>
            <a:pPr>
              <a:lnSpc>
                <a:spcPct val="115000"/>
              </a:lnSpc>
              <a:spcAft>
                <a:spcPts val="0"/>
              </a:spcAft>
              <a:buSzPts val="1800"/>
            </a:pPr>
            <a:r>
              <a:rPr lang="en-US" sz="1000">
                <a:solidFill>
                  <a:srgbClr val="1A1E23"/>
                </a:solidFill>
                <a:latin typeface="Nunito Sans SemiBold"/>
                <a:ea typeface="Nunito Sans SemiBold"/>
                <a:cs typeface="Nunito Sans SemiBold"/>
                <a:sym typeface="Nunito Sans SemiBold"/>
              </a:rPr>
              <a:t>compute 100% of CPU</a:t>
            </a:r>
          </a:p>
          <a:p>
            <a:pPr>
              <a:lnSpc>
                <a:spcPct val="115000"/>
              </a:lnSpc>
              <a:spcAft>
                <a:spcPts val="0"/>
              </a:spcAft>
              <a:buSzPts val="1800"/>
            </a:pPr>
            <a:r>
              <a:rPr lang="en-US" sz="1000">
                <a:solidFill>
                  <a:srgbClr val="1A1E23"/>
                </a:solidFill>
                <a:latin typeface="Nunito Sans SemiBold"/>
                <a:ea typeface="Nunito Sans SemiBold"/>
                <a:cs typeface="Nunito Sans SemiBold"/>
                <a:sym typeface="Nunito Sans SemiBold"/>
              </a:rPr>
              <a:t>run mission critical applications</a:t>
            </a:r>
          </a:p>
          <a:p>
            <a:pPr>
              <a:lnSpc>
                <a:spcPct val="115000"/>
              </a:lnSpc>
              <a:spcAft>
                <a:spcPts val="0"/>
              </a:spcAft>
              <a:buSzPts val="1800"/>
            </a:pPr>
            <a:br>
              <a:rPr lang="en-US" sz="1000">
                <a:solidFill>
                  <a:srgbClr val="1A1E23"/>
                </a:solidFill>
                <a:latin typeface="Nunito Sans SemiBold"/>
                <a:ea typeface="Nunito Sans SemiBold"/>
                <a:cs typeface="Nunito Sans SemiBold"/>
                <a:sym typeface="Nunito Sans SemiBold"/>
              </a:rPr>
            </a:br>
            <a:r>
              <a:rPr lang="en-US" sz="1000">
                <a:solidFill>
                  <a:srgbClr val="1A1E23"/>
                </a:solidFill>
                <a:latin typeface="Nunito Sans SemiBold"/>
                <a:ea typeface="Nunito Sans SemiBold"/>
                <a:cs typeface="Nunito Sans SemiBold"/>
                <a:sym typeface="Nunito Sans SemiBold"/>
              </a:rPr>
              <a:t>This gives </a:t>
            </a:r>
            <a:r>
              <a:rPr lang="en-US" sz="1000">
                <a:solidFill>
                  <a:srgbClr val="1A1E23"/>
                </a:solidFill>
                <a:latin typeface="Nunito Sans ExtraBold"/>
                <a:ea typeface="Nunito Sans ExtraBold"/>
                <a:cs typeface="Nunito Sans ExtraBold"/>
                <a:sym typeface="Nunito Sans ExtraBold"/>
              </a:rPr>
              <a:t>the incentive to run all servers</a:t>
            </a:r>
            <a:r>
              <a:rPr lang="en-US" sz="1000">
                <a:solidFill>
                  <a:srgbClr val="1A1E23"/>
                </a:solidFill>
                <a:latin typeface="Nunito Sans SemiBold"/>
                <a:ea typeface="Nunito Sans SemiBold"/>
                <a:cs typeface="Nunito Sans SemiBold"/>
                <a:sym typeface="Nunito Sans SemiBold"/>
              </a:rPr>
              <a:t> on High Performance.</a:t>
            </a:r>
          </a:p>
        </p:txBody>
      </p:sp>
      <p:cxnSp>
        <p:nvCxnSpPr>
          <p:cNvPr id="19" name="Google Shape;194;g28e41b112f6_0_117">
            <a:extLst>
              <a:ext uri="{FF2B5EF4-FFF2-40B4-BE49-F238E27FC236}">
                <a16:creationId xmlns:a16="http://schemas.microsoft.com/office/drawing/2014/main" id="{050F242E-D5B0-48F3-6DF2-8240F4783A17}"/>
              </a:ext>
            </a:extLst>
          </p:cNvPr>
          <p:cNvCxnSpPr/>
          <p:nvPr/>
        </p:nvCxnSpPr>
        <p:spPr>
          <a:xfrm>
            <a:off x="4346100" y="1773200"/>
            <a:ext cx="451800" cy="0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stealth" w="med" len="med"/>
          </a:ln>
        </p:spPr>
      </p:cxnSp>
      <p:cxnSp>
        <p:nvCxnSpPr>
          <p:cNvPr id="20" name="Google Shape;195;g28e41b112f6_0_117">
            <a:extLst>
              <a:ext uri="{FF2B5EF4-FFF2-40B4-BE49-F238E27FC236}">
                <a16:creationId xmlns:a16="http://schemas.microsoft.com/office/drawing/2014/main" id="{4515CA1A-2343-DA18-6437-64D88829D1B7}"/>
              </a:ext>
            </a:extLst>
          </p:cNvPr>
          <p:cNvCxnSpPr/>
          <p:nvPr/>
        </p:nvCxnSpPr>
        <p:spPr>
          <a:xfrm rot="10800000">
            <a:off x="4346100" y="3806450"/>
            <a:ext cx="451800" cy="0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stealth" w="med" len="med"/>
          </a:ln>
        </p:spPr>
      </p:cxnSp>
      <p:cxnSp>
        <p:nvCxnSpPr>
          <p:cNvPr id="21" name="Google Shape;196;g28e41b112f6_0_117">
            <a:extLst>
              <a:ext uri="{FF2B5EF4-FFF2-40B4-BE49-F238E27FC236}">
                <a16:creationId xmlns:a16="http://schemas.microsoft.com/office/drawing/2014/main" id="{C1F65B84-D93D-60D9-C4C7-6038D71479FF}"/>
              </a:ext>
            </a:extLst>
          </p:cNvPr>
          <p:cNvCxnSpPr/>
          <p:nvPr/>
        </p:nvCxnSpPr>
        <p:spPr>
          <a:xfrm rot="5400000">
            <a:off x="5362725" y="2805901"/>
            <a:ext cx="451800" cy="0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stealth" w="med" len="med"/>
          </a:ln>
        </p:spPr>
      </p:cxnSp>
      <p:cxnSp>
        <p:nvCxnSpPr>
          <p:cNvPr id="22" name="Google Shape;197;g28e41b112f6_0_117">
            <a:extLst>
              <a:ext uri="{FF2B5EF4-FFF2-40B4-BE49-F238E27FC236}">
                <a16:creationId xmlns:a16="http://schemas.microsoft.com/office/drawing/2014/main" id="{08E8C4D9-F858-3C98-FF8E-4B3BC0BA2DFA}"/>
              </a:ext>
            </a:extLst>
          </p:cNvPr>
          <p:cNvCxnSpPr/>
          <p:nvPr/>
        </p:nvCxnSpPr>
        <p:spPr>
          <a:xfrm rot="-5400000">
            <a:off x="3329475" y="2789825"/>
            <a:ext cx="451800" cy="0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stealth" w="med" len="med"/>
          </a:ln>
        </p:spPr>
      </p:cxnSp>
      <p:sp>
        <p:nvSpPr>
          <p:cNvPr id="13" name="Thought Bubble: Cloud 12">
            <a:extLst>
              <a:ext uri="{FF2B5EF4-FFF2-40B4-BE49-F238E27FC236}">
                <a16:creationId xmlns:a16="http://schemas.microsoft.com/office/drawing/2014/main" id="{37FDBCE9-FD1E-C010-CEBB-241318BC22EB}"/>
              </a:ext>
            </a:extLst>
          </p:cNvPr>
          <p:cNvSpPr/>
          <p:nvPr/>
        </p:nvSpPr>
        <p:spPr>
          <a:xfrm>
            <a:off x="7689502" y="564663"/>
            <a:ext cx="1602712" cy="1029622"/>
          </a:xfrm>
          <a:prstGeom prst="cloudCallou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000"/>
              <a:t>How to create exemptions for high-performance?</a:t>
            </a:r>
            <a:endParaRPr lang="nl-NL" sz="1800"/>
          </a:p>
        </p:txBody>
      </p:sp>
    </p:spTree>
    <p:extLst>
      <p:ext uri="{BB962C8B-B14F-4D97-AF65-F5344CB8AC3E}">
        <p14:creationId xmlns:p14="http://schemas.microsoft.com/office/powerpoint/2010/main" val="301669360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715EC24-F2A1-C223-47B0-C5B9CA095A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88630E2-4698-58C4-5459-E09B491E1C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88630E2-4698-58C4-5459-E09B491E1C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FC69337-52D6-6A29-11C0-65FEB96338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500" y="2672834"/>
            <a:ext cx="9525000" cy="430887"/>
          </a:xfrm>
        </p:spPr>
        <p:txBody>
          <a:bodyPr vert="horz" wrap="square" lIns="0" tIns="0" rIns="0" bIns="0" rtlCol="0" anchor="t" anchorCtr="0">
            <a:spAutoFit/>
          </a:bodyPr>
          <a:lstStyle/>
          <a:p>
            <a:pPr algn="l"/>
            <a:r>
              <a:rPr lang="en-IN"/>
              <a:t>Our solution</a:t>
            </a:r>
          </a:p>
        </p:txBody>
      </p:sp>
      <p:sp>
        <p:nvSpPr>
          <p:cNvPr id="5" name="Tekstvak 4">
            <a:extLst>
              <a:ext uri="{FF2B5EF4-FFF2-40B4-BE49-F238E27FC236}">
                <a16:creationId xmlns:a16="http://schemas.microsoft.com/office/drawing/2014/main" id="{BFB6DA44-D376-B7F9-04F2-7C71B8EC4283}"/>
              </a:ext>
            </a:extLst>
          </p:cNvPr>
          <p:cNvSpPr txBox="1"/>
          <p:nvPr/>
        </p:nvSpPr>
        <p:spPr>
          <a:xfrm>
            <a:off x="6747082" y="1795671"/>
            <a:ext cx="3272242" cy="1477328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</a:pPr>
            <a:endParaRPr lang="en-US" sz="1800" i="1">
              <a:solidFill>
                <a:schemeClr val="bg1"/>
              </a:solidFill>
              <a:latin typeface="Hind"/>
              <a:ea typeface="Hind"/>
              <a:cs typeface="Hind"/>
              <a:sym typeface="Hind"/>
            </a:endParaRPr>
          </a:p>
          <a:p>
            <a:pPr>
              <a:buClr>
                <a:schemeClr val="dk1"/>
              </a:buClr>
            </a:pPr>
            <a:r>
              <a:rPr lang="en-US" sz="1800" i="1">
                <a:solidFill>
                  <a:schemeClr val="bg1"/>
                </a:solidFill>
                <a:latin typeface="Hind"/>
                <a:ea typeface="Hind"/>
                <a:cs typeface="Hind"/>
                <a:sym typeface="Hind"/>
              </a:rPr>
              <a:t>At Zirrow it’s our ambition to help </a:t>
            </a:r>
            <a:r>
              <a:rPr lang="en-US" i="1">
                <a:solidFill>
                  <a:schemeClr val="bg1"/>
                </a:solidFill>
                <a:latin typeface="Hind"/>
                <a:ea typeface="Hind"/>
                <a:cs typeface="Hind"/>
                <a:sym typeface="Hind"/>
              </a:rPr>
              <a:t>all</a:t>
            </a:r>
            <a:r>
              <a:rPr lang="en-US" sz="1800" i="1">
                <a:solidFill>
                  <a:schemeClr val="bg1"/>
                </a:solidFill>
                <a:latin typeface="Hind"/>
                <a:ea typeface="Hind"/>
                <a:cs typeface="Hind"/>
                <a:sym typeface="Hind"/>
              </a:rPr>
              <a:t> data users across the globe</a:t>
            </a:r>
            <a:r>
              <a:rPr lang="en-US" i="1">
                <a:solidFill>
                  <a:schemeClr val="bg1"/>
                </a:solidFill>
                <a:latin typeface="Hind"/>
                <a:ea typeface="Hind"/>
                <a:cs typeface="Hind"/>
                <a:sym typeface="Hind"/>
              </a:rPr>
              <a:t> to become future proof</a:t>
            </a:r>
            <a:r>
              <a:rPr lang="en-US" sz="1800" i="1">
                <a:solidFill>
                  <a:schemeClr val="bg1"/>
                </a:solidFill>
                <a:latin typeface="Hind"/>
                <a:ea typeface="Hind"/>
                <a:cs typeface="Hind"/>
                <a:sym typeface="Hind"/>
              </a:rPr>
              <a:t>.</a:t>
            </a:r>
            <a:endParaRPr lang="en-US" sz="1800" i="1">
              <a:solidFill>
                <a:schemeClr val="bg1"/>
              </a:solidFill>
              <a:latin typeface="Hind"/>
              <a:ea typeface="Hind"/>
              <a:cs typeface="Hind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sz="1800" i="1">
              <a:solidFill>
                <a:srgbClr val="434343"/>
              </a:solidFill>
              <a:latin typeface="Hind"/>
              <a:ea typeface="Hind"/>
              <a:cs typeface="Hind"/>
              <a:sym typeface="Hind"/>
            </a:endParaRPr>
          </a:p>
        </p:txBody>
      </p:sp>
    </p:spTree>
    <p:extLst>
      <p:ext uri="{BB962C8B-B14F-4D97-AF65-F5344CB8AC3E}">
        <p14:creationId xmlns:p14="http://schemas.microsoft.com/office/powerpoint/2010/main" val="3900414802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E541BF6B-C445-9857-BFBD-4454C1BD94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757FC14-78AC-60FB-214B-0E211946391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757FC14-78AC-60FB-214B-0E21194639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ABA7FD2-C6F8-749F-E6A3-919B515D06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9503" y="1687371"/>
            <a:ext cx="3179500" cy="738664"/>
          </a:xfr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en-US"/>
              <a:t>The solution we offer to our customers</a:t>
            </a:r>
            <a:endParaRPr lang="nl-NL"/>
          </a:p>
        </p:txBody>
      </p:sp>
      <p:sp>
        <p:nvSpPr>
          <p:cNvPr id="4" name="Tekstvak 3">
            <a:extLst>
              <a:ext uri="{FF2B5EF4-FFF2-40B4-BE49-F238E27FC236}">
                <a16:creationId xmlns:a16="http://schemas.microsoft.com/office/drawing/2014/main" id="{A2AACC92-03A2-2C09-283A-9D8373C707BA}"/>
              </a:ext>
            </a:extLst>
          </p:cNvPr>
          <p:cNvSpPr txBox="1"/>
          <p:nvPr/>
        </p:nvSpPr>
        <p:spPr>
          <a:xfrm>
            <a:off x="4400792" y="675576"/>
            <a:ext cx="5080600" cy="480131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buClr>
                <a:schemeClr val="dk1"/>
              </a:buClr>
            </a:pPr>
            <a:r>
              <a:rPr lang="en-US" b="1"/>
              <a:t>Adjusting your server capacity without impacting performance</a:t>
            </a:r>
          </a:p>
          <a:p>
            <a:pPr>
              <a:buClr>
                <a:schemeClr val="dk1"/>
              </a:buClr>
            </a:pPr>
            <a:endParaRPr lang="en-US" b="1" i="1">
              <a:ea typeface="Hind"/>
              <a:cs typeface="Hind"/>
              <a:sym typeface="Hind"/>
            </a:endParaRPr>
          </a:p>
          <a:p>
            <a:pPr marL="285750" lvl="0" indent="-2857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Wingdings" panose="05000000000000000000" pitchFamily="2" charset="2"/>
              <a:buChar char="§"/>
            </a:pPr>
            <a:r>
              <a:rPr lang="en-US" sz="1800" i="1">
                <a:ea typeface="Hind"/>
                <a:cs typeface="Hind"/>
                <a:sym typeface="Hind"/>
              </a:rPr>
              <a:t>Our services, tech and data solutions give companies </a:t>
            </a:r>
            <a:r>
              <a:rPr lang="en-US" sz="1800" b="1" i="1">
                <a:ea typeface="Hind"/>
                <a:cs typeface="Hind"/>
                <a:sym typeface="Hind"/>
              </a:rPr>
              <a:t>actionable insights </a:t>
            </a:r>
            <a:r>
              <a:rPr lang="en-US" sz="1800" i="1">
                <a:ea typeface="Hind"/>
                <a:cs typeface="Hind"/>
                <a:sym typeface="Hind"/>
              </a:rPr>
              <a:t>of the </a:t>
            </a:r>
            <a:r>
              <a:rPr lang="en-US" sz="1800" b="1" i="1">
                <a:ea typeface="Hind"/>
                <a:cs typeface="Hind"/>
                <a:sym typeface="Hind"/>
              </a:rPr>
              <a:t>sustainability </a:t>
            </a:r>
            <a:r>
              <a:rPr lang="en-US" sz="1800" i="1">
                <a:ea typeface="Hind"/>
                <a:cs typeface="Hind"/>
                <a:sym typeface="Hind"/>
              </a:rPr>
              <a:t>of their IT.</a:t>
            </a:r>
          </a:p>
          <a:p>
            <a:pPr marL="285750" lvl="0" indent="-2857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Wingdings" panose="05000000000000000000" pitchFamily="2" charset="2"/>
              <a:buChar char="§"/>
            </a:pPr>
            <a:endParaRPr lang="en-US" sz="1800" i="1">
              <a:ea typeface="Hind"/>
              <a:cs typeface="Hind"/>
              <a:sym typeface="Hind"/>
            </a:endParaRPr>
          </a:p>
          <a:p>
            <a:pPr marL="285750" lvl="0" indent="-285750" algn="l" rtl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en-US" sz="1800" i="1">
                <a:ea typeface="Hind"/>
                <a:cs typeface="Hind"/>
                <a:sym typeface="Hind"/>
              </a:rPr>
              <a:t>Zirrow’s smart technology is able to </a:t>
            </a:r>
            <a:r>
              <a:rPr lang="en-US" sz="1800" b="1" i="1">
                <a:ea typeface="Hind"/>
                <a:cs typeface="Hind"/>
                <a:sym typeface="Hind"/>
              </a:rPr>
              <a:t>measure, report and reduce</a:t>
            </a:r>
            <a:r>
              <a:rPr lang="en-US" sz="1800" i="1">
                <a:ea typeface="Hind"/>
                <a:cs typeface="Hind"/>
                <a:sym typeface="Hind"/>
              </a:rPr>
              <a:t> data related energy loss , while ensuring optimal </a:t>
            </a:r>
            <a:r>
              <a:rPr lang="en-US" sz="1800" b="1" i="1">
                <a:ea typeface="Hind"/>
                <a:cs typeface="Hind"/>
                <a:sym typeface="Hind"/>
              </a:rPr>
              <a:t>performance</a:t>
            </a:r>
            <a:r>
              <a:rPr lang="en-US" sz="1800" i="1">
                <a:ea typeface="Hind"/>
                <a:cs typeface="Hind"/>
                <a:sym typeface="Hind"/>
              </a:rPr>
              <a:t>.</a:t>
            </a:r>
          </a:p>
          <a:p>
            <a:pPr marL="285750" lvl="0" indent="-2857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Wingdings" panose="05000000000000000000" pitchFamily="2" charset="2"/>
              <a:buChar char="§"/>
            </a:pPr>
            <a:endParaRPr lang="en-US" sz="1800" i="1">
              <a:ea typeface="Hind"/>
              <a:cs typeface="Hind"/>
              <a:sym typeface="Hind"/>
            </a:endParaRPr>
          </a:p>
          <a:p>
            <a:pPr marL="285750" lvl="0" indent="-2857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Wingdings" panose="05000000000000000000" pitchFamily="2" charset="2"/>
              <a:buChar char="§"/>
            </a:pPr>
            <a:r>
              <a:rPr lang="en-US" sz="1800" i="1">
                <a:ea typeface="Hind"/>
                <a:cs typeface="Hind"/>
                <a:sym typeface="Hind"/>
              </a:rPr>
              <a:t>Improvements and </a:t>
            </a:r>
            <a:r>
              <a:rPr lang="en-US" sz="1800" b="1" i="1">
                <a:ea typeface="Hind"/>
                <a:cs typeface="Hind"/>
                <a:sym typeface="Hind"/>
              </a:rPr>
              <a:t>exemptions</a:t>
            </a:r>
            <a:r>
              <a:rPr lang="en-US" sz="1800" i="1">
                <a:ea typeface="Hind"/>
                <a:cs typeface="Hind"/>
                <a:sym typeface="Hind"/>
              </a:rPr>
              <a:t> can be certified (CSRD, EED).</a:t>
            </a:r>
          </a:p>
          <a:p>
            <a:pPr marL="285750" lvl="0" indent="-2857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Wingdings" panose="05000000000000000000" pitchFamily="2" charset="2"/>
              <a:buChar char="§"/>
            </a:pPr>
            <a:endParaRPr lang="en-US" i="1">
              <a:ea typeface="Hind"/>
              <a:cs typeface="Hind"/>
              <a:sym typeface="Hind"/>
            </a:endParaRPr>
          </a:p>
          <a:p>
            <a:pPr lvl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</a:pPr>
            <a:r>
              <a:rPr lang="en-US" sz="1800" i="1">
                <a:ea typeface="Hind"/>
                <a:cs typeface="Hind"/>
                <a:sym typeface="Hind"/>
              </a:rPr>
              <a:t>We call this ‘Smart power &amp; performance’</a:t>
            </a:r>
          </a:p>
          <a:p>
            <a:pPr marL="285750" lvl="0" indent="-2857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Wingdings" panose="05000000000000000000" pitchFamily="2" charset="2"/>
              <a:buChar char="§"/>
            </a:pPr>
            <a:endParaRPr lang="en-US" i="1">
              <a:ea typeface="Hind"/>
              <a:cs typeface="Hind"/>
              <a:sym typeface="Hind"/>
            </a:endParaRPr>
          </a:p>
        </p:txBody>
      </p:sp>
    </p:spTree>
    <p:extLst>
      <p:ext uri="{BB962C8B-B14F-4D97-AF65-F5344CB8AC3E}">
        <p14:creationId xmlns:p14="http://schemas.microsoft.com/office/powerpoint/2010/main" val="2999514392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1E777F-8CEC-A6EA-6BFD-ED84CCC600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7407D8-D4A3-4DF0-E684-EC15A973350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A7407D8-D4A3-4DF0-E684-EC15A97335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1BA0715-53F6-39F1-DDA4-A2C9B1D3CD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931" y="940548"/>
            <a:ext cx="3179500" cy="369332"/>
          </a:xfr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en-US"/>
              <a:t>First, we scan</a:t>
            </a:r>
            <a:endParaRPr lang="nl-NL"/>
          </a:p>
        </p:txBody>
      </p:sp>
      <p:pic>
        <p:nvPicPr>
          <p:cNvPr id="9" name="Google Shape;483;p21" descr="A picture containing screenshot, text, diagram, design&#10;&#10;Description automatically generated">
            <a:extLst>
              <a:ext uri="{FF2B5EF4-FFF2-40B4-BE49-F238E27FC236}">
                <a16:creationId xmlns:a16="http://schemas.microsoft.com/office/drawing/2014/main" id="{6E08EC73-0F84-73D2-A674-732718754F41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 r="63619"/>
          <a:stretch/>
        </p:blipFill>
        <p:spPr>
          <a:xfrm>
            <a:off x="7627550" y="978614"/>
            <a:ext cx="2490045" cy="3856040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Tekstvak 10">
            <a:extLst>
              <a:ext uri="{FF2B5EF4-FFF2-40B4-BE49-F238E27FC236}">
                <a16:creationId xmlns:a16="http://schemas.microsoft.com/office/drawing/2014/main" id="{4617E1B1-A594-C30E-D601-D1702E32EA0F}"/>
              </a:ext>
            </a:extLst>
          </p:cNvPr>
          <p:cNvSpPr txBox="1"/>
          <p:nvPr/>
        </p:nvSpPr>
        <p:spPr>
          <a:xfrm>
            <a:off x="4385930" y="1980337"/>
            <a:ext cx="2893384" cy="203132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en-US"/>
              <a:t>Scan:</a:t>
            </a:r>
          </a:p>
          <a:p>
            <a:pPr>
              <a:buSzPts val="1800"/>
            </a:pPr>
            <a:r>
              <a:rPr lang="en-US"/>
              <a:t>After performing a </a:t>
            </a:r>
            <a:r>
              <a:rPr lang="en-US" b="1" u="sng"/>
              <a:t>baseline measurement</a:t>
            </a:r>
            <a:r>
              <a:rPr lang="en-US" b="1"/>
              <a:t> </a:t>
            </a:r>
            <a:r>
              <a:rPr lang="en-US"/>
              <a:t>and calculation of the server idle coefficient the avoidable energy waste is calculated. 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A4630177-0C05-C707-7C38-58CF4E86448C}"/>
              </a:ext>
            </a:extLst>
          </p:cNvPr>
          <p:cNvSpPr/>
          <p:nvPr/>
        </p:nvSpPr>
        <p:spPr>
          <a:xfrm>
            <a:off x="7892980" y="3966444"/>
            <a:ext cx="472272" cy="90435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400"/>
              <a:t>Workload</a:t>
            </a:r>
            <a:endParaRPr lang="nl-NL" sz="400"/>
          </a:p>
        </p:txBody>
      </p:sp>
    </p:spTree>
    <p:extLst>
      <p:ext uri="{BB962C8B-B14F-4D97-AF65-F5344CB8AC3E}">
        <p14:creationId xmlns:p14="http://schemas.microsoft.com/office/powerpoint/2010/main" val="2011610730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F170C70-33C9-AD15-E6FC-9972B43F94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CF9778E-1362-506B-A1AF-C607F0A8A71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CF9778E-1362-506B-A1AF-C607F0A8A7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C485699-68F2-7C68-EBEC-6AE4CE4E31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931" y="1600205"/>
            <a:ext cx="3179500" cy="369332"/>
          </a:xfr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en-US"/>
              <a:t>Then we validate</a:t>
            </a:r>
            <a:endParaRPr lang="nl-NL"/>
          </a:p>
        </p:txBody>
      </p:sp>
      <p:sp>
        <p:nvSpPr>
          <p:cNvPr id="11" name="Tekstvak 10">
            <a:extLst>
              <a:ext uri="{FF2B5EF4-FFF2-40B4-BE49-F238E27FC236}">
                <a16:creationId xmlns:a16="http://schemas.microsoft.com/office/drawing/2014/main" id="{07F80312-C1F0-34B8-452F-BB4568F6E56A}"/>
              </a:ext>
            </a:extLst>
          </p:cNvPr>
          <p:cNvSpPr txBox="1"/>
          <p:nvPr/>
        </p:nvSpPr>
        <p:spPr>
          <a:xfrm>
            <a:off x="4269925" y="741123"/>
            <a:ext cx="5566144" cy="24416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en-US"/>
              <a:t>Validate: </a:t>
            </a: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en-US"/>
              <a:t>In time, users have sufficient insights to switch to a balanced mode while tuning the performance and managing workloads. </a:t>
            </a:r>
          </a:p>
          <a:p>
            <a:pPr marL="0" lvl="0" indent="0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800"/>
              <a:buNone/>
            </a:pPr>
            <a:r>
              <a:rPr lang="en-US"/>
              <a:t>This is what our software does:</a:t>
            </a:r>
          </a:p>
          <a:p>
            <a:pPr marL="0" lvl="0" indent="0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800"/>
              <a:buNone/>
            </a:pPr>
            <a:r>
              <a:rPr lang="en-US"/>
              <a:t>Continuous optimization. </a:t>
            </a: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endParaRPr lang="en-US"/>
          </a:p>
        </p:txBody>
      </p:sp>
      <p:pic>
        <p:nvPicPr>
          <p:cNvPr id="3" name="Google Shape;491;p22" descr="Afbeelding met tekst, schermopname, diagram, lijn&#10;&#10;Automatisch gegenereerde beschrijving">
            <a:extLst>
              <a:ext uri="{FF2B5EF4-FFF2-40B4-BE49-F238E27FC236}">
                <a16:creationId xmlns:a16="http://schemas.microsoft.com/office/drawing/2014/main" id="{D32E6052-EC4B-AEAF-CA50-C1E7624AE6D2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4243605" y="2857500"/>
            <a:ext cx="5029199" cy="2822520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6D98A1AB-9F16-B8B7-E970-71BAF2166CCB}"/>
              </a:ext>
            </a:extLst>
          </p:cNvPr>
          <p:cNvSpPr/>
          <p:nvPr/>
        </p:nvSpPr>
        <p:spPr>
          <a:xfrm>
            <a:off x="4335865" y="5026487"/>
            <a:ext cx="427054" cy="90435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400"/>
              <a:t>Workload</a:t>
            </a:r>
            <a:endParaRPr lang="nl-NL" sz="400"/>
          </a:p>
        </p:txBody>
      </p:sp>
    </p:spTree>
    <p:extLst>
      <p:ext uri="{BB962C8B-B14F-4D97-AF65-F5344CB8AC3E}">
        <p14:creationId xmlns:p14="http://schemas.microsoft.com/office/powerpoint/2010/main" val="150562181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B5B2B5-C781-4045-BEFD-0155472F51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3EAB6FB-DFCC-1596-D25F-16DE727C98A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83EAB6FB-DFCC-1596-D25F-16DE727C98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27475A6-AB67-1573-E982-025FA40ADE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9848" y="2139835"/>
            <a:ext cx="3179500" cy="369332"/>
          </a:xfr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en-US">
                <a:cs typeface="Cardo"/>
              </a:rPr>
              <a:t>With reporting power</a:t>
            </a:r>
            <a:endParaRPr lang="nl-NL">
              <a:cs typeface="Cardo"/>
            </a:endParaRPr>
          </a:p>
        </p:txBody>
      </p:sp>
      <p:sp>
        <p:nvSpPr>
          <p:cNvPr id="11" name="Tekstvak 10">
            <a:extLst>
              <a:ext uri="{FF2B5EF4-FFF2-40B4-BE49-F238E27FC236}">
                <a16:creationId xmlns:a16="http://schemas.microsoft.com/office/drawing/2014/main" id="{2D81D192-65A9-99A3-A215-D7D19431F0D0}"/>
              </a:ext>
            </a:extLst>
          </p:cNvPr>
          <p:cNvSpPr txBox="1"/>
          <p:nvPr/>
        </p:nvSpPr>
        <p:spPr>
          <a:xfrm>
            <a:off x="4308839" y="3048965"/>
            <a:ext cx="5566144" cy="1477328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buSzPts val="1800"/>
            </a:pPr>
            <a:r>
              <a:rPr lang="en-US"/>
              <a:t>Compliancy: </a:t>
            </a:r>
          </a:p>
          <a:p>
            <a:pPr>
              <a:buSzPts val="1800"/>
            </a:pPr>
            <a:r>
              <a:rPr lang="en-US"/>
              <a:t>Confirmation for the datacenter that their customer has been helped, giving them an </a:t>
            </a:r>
            <a:r>
              <a:rPr lang="en-US" b="1" u="sng"/>
              <a:t>independent review</a:t>
            </a:r>
            <a:r>
              <a:rPr lang="en-US"/>
              <a:t> of sustainability efforts. ESG certified. </a:t>
            </a:r>
          </a:p>
          <a:p>
            <a:pPr>
              <a:buSzPts val="1800"/>
            </a:pPr>
            <a:r>
              <a:rPr lang="en-US"/>
              <a:t>For CSRD and the Energy Efficiency Directive. </a:t>
            </a:r>
          </a:p>
        </p:txBody>
      </p:sp>
      <p:pic>
        <p:nvPicPr>
          <p:cNvPr id="3" name="Google Shape;508;p24" descr="Afbeelding met tekst, teken&#10;&#10;Automatisch gegenereerde beschrijving">
            <a:extLst>
              <a:ext uri="{FF2B5EF4-FFF2-40B4-BE49-F238E27FC236}">
                <a16:creationId xmlns:a16="http://schemas.microsoft.com/office/drawing/2014/main" id="{BE5819F4-8E69-957D-F900-B07C0207C2A1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6305550" y="4762500"/>
            <a:ext cx="1824795" cy="690405"/>
          </a:xfrm>
          <a:prstGeom prst="rect">
            <a:avLst/>
          </a:prstGeom>
          <a:noFill/>
          <a:ln>
            <a:noFill/>
          </a:ln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BC3A1EC3-490E-F6F2-8906-12AE57041FB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08839" y="444836"/>
            <a:ext cx="4031470" cy="2486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433879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3EF235-0E70-04D8-43E7-93297DE057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599B555-4F32-BFDB-B97C-0A97791E7D7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599B555-4F32-BFDB-B97C-0A97791E7D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C1A0E8E-D651-CE04-84DC-3EE36288AD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987" y="2765386"/>
            <a:ext cx="3179500" cy="738664"/>
          </a:xfr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en-US"/>
              <a:t>Giving our users control</a:t>
            </a:r>
            <a:endParaRPr lang="nl-NL"/>
          </a:p>
        </p:txBody>
      </p:sp>
      <p:sp>
        <p:nvSpPr>
          <p:cNvPr id="11" name="Tekstvak 10">
            <a:extLst>
              <a:ext uri="{FF2B5EF4-FFF2-40B4-BE49-F238E27FC236}">
                <a16:creationId xmlns:a16="http://schemas.microsoft.com/office/drawing/2014/main" id="{34FC6A9B-C3EB-5758-1AFA-8C0EECBBCDF3}"/>
              </a:ext>
            </a:extLst>
          </p:cNvPr>
          <p:cNvSpPr txBox="1"/>
          <p:nvPr/>
        </p:nvSpPr>
        <p:spPr>
          <a:xfrm>
            <a:off x="4269925" y="741123"/>
            <a:ext cx="5566144" cy="1477328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en-US"/>
              <a:t>Control: </a:t>
            </a:r>
          </a:p>
          <a:p>
            <a:pPr>
              <a:buSzPts val="1800"/>
            </a:pPr>
            <a:r>
              <a:rPr lang="en-US"/>
              <a:t>Through our multi-persona dashboard the data user </a:t>
            </a:r>
            <a:r>
              <a:rPr lang="en-US" b="1" u="sng"/>
              <a:t>reduces costs</a:t>
            </a:r>
            <a:r>
              <a:rPr lang="en-US" b="1"/>
              <a:t> and </a:t>
            </a:r>
            <a:r>
              <a:rPr lang="en-US"/>
              <a:t>prevents energy </a:t>
            </a:r>
            <a:r>
              <a:rPr lang="en-US" b="1" u="sng"/>
              <a:t>waste</a:t>
            </a:r>
            <a:r>
              <a:rPr lang="en-US"/>
              <a:t> without worrying about </a:t>
            </a:r>
            <a:r>
              <a:rPr lang="en-US" b="1" u="sng"/>
              <a:t>performance</a:t>
            </a:r>
            <a:r>
              <a:rPr lang="en-US"/>
              <a:t>.</a:t>
            </a: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endParaRPr lang="en-US"/>
          </a:p>
        </p:txBody>
      </p:sp>
      <p:pic>
        <p:nvPicPr>
          <p:cNvPr id="4" name="Google Shape;500;p23" descr="A screenshot of a computer&#10;&#10;Description automatically generated">
            <a:extLst>
              <a:ext uri="{FF2B5EF4-FFF2-40B4-BE49-F238E27FC236}">
                <a16:creationId xmlns:a16="http://schemas.microsoft.com/office/drawing/2014/main" id="{2507424B-B0DB-8590-A9D7-44B4AB73C6B7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4802460" y="2623301"/>
            <a:ext cx="4083083" cy="292408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2470116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A775FB-881F-EDB2-84CB-E05FDF871F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" name="Picture 2" descr="A close-up of a computer&#10;&#10;Description automatically generated">
            <a:extLst>
              <a:ext uri="{FF2B5EF4-FFF2-40B4-BE49-F238E27FC236}">
                <a16:creationId xmlns:a16="http://schemas.microsoft.com/office/drawing/2014/main" id="{101769E3-4EF7-0F75-9833-CBD6803F9E6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215057" y="-109539"/>
            <a:ext cx="10382167" cy="5823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7240442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405FCA-2353-58E7-5279-44E6E1104A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F99B109-F0D3-07D1-9DE6-D9F2E39091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F99B109-F0D3-07D1-9DE6-D9F2E39091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D254D58-B6AD-1DCD-262B-FA6203DB6A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7390" y="1707330"/>
            <a:ext cx="3179500" cy="738664"/>
          </a:xfr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en-US"/>
              <a:t>A strong value case for heavy data users</a:t>
            </a:r>
            <a:endParaRPr lang="nl-NL"/>
          </a:p>
        </p:txBody>
      </p:sp>
      <p:sp>
        <p:nvSpPr>
          <p:cNvPr id="5" name="Tekstvak 4">
            <a:extLst>
              <a:ext uri="{FF2B5EF4-FFF2-40B4-BE49-F238E27FC236}">
                <a16:creationId xmlns:a16="http://schemas.microsoft.com/office/drawing/2014/main" id="{AE44D13E-3672-D977-984A-DCB6C98F593E}"/>
              </a:ext>
            </a:extLst>
          </p:cNvPr>
          <p:cNvSpPr txBox="1"/>
          <p:nvPr/>
        </p:nvSpPr>
        <p:spPr>
          <a:xfrm>
            <a:off x="4368699" y="2531900"/>
            <a:ext cx="5079704" cy="1754326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US" b="0" i="0">
                <a:effectLst/>
                <a:latin typeface="Arial"/>
                <a:cs typeface="Arial"/>
              </a:rPr>
              <a:t>Contribute to reducing unnecessary energy consumption while simultaneously lowering your data center and cloud costs. With Smart Power &amp; Performance, you can save up to 30-40% on energy and costs by adjusting your server capacity without impacting performance</a:t>
            </a:r>
            <a:r>
              <a:rPr lang="en-US" b="0" i="0">
                <a:solidFill>
                  <a:srgbClr val="FFFFFF"/>
                </a:solidFill>
                <a:effectLst/>
                <a:latin typeface="Arial"/>
                <a:cs typeface="Arial"/>
              </a:rPr>
              <a:t>.</a:t>
            </a:r>
            <a:endParaRPr lang="nl-NL">
              <a:latin typeface="Arial"/>
              <a:cs typeface="Arial"/>
            </a:endParaRP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77CB9942-753F-0104-8DC4-50DA762968A8}"/>
              </a:ext>
            </a:extLst>
          </p:cNvPr>
          <p:cNvSpPr txBox="1"/>
          <p:nvPr/>
        </p:nvSpPr>
        <p:spPr>
          <a:xfrm>
            <a:off x="4368699" y="558143"/>
            <a:ext cx="5079704" cy="1477328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US" b="1" i="0">
                <a:solidFill>
                  <a:srgbClr val="333333"/>
                </a:solidFill>
                <a:effectLst/>
                <a:latin typeface="Arial"/>
                <a:cs typeface="Arial"/>
              </a:rPr>
              <a:t>Reduce </a:t>
            </a:r>
            <a:r>
              <a:rPr lang="en-US" b="1">
                <a:solidFill>
                  <a:srgbClr val="333333"/>
                </a:solidFill>
                <a:latin typeface="Arial"/>
                <a:cs typeface="Arial"/>
              </a:rPr>
              <a:t>your data related costs</a:t>
            </a:r>
            <a:r>
              <a:rPr lang="en-US" b="1" i="0">
                <a:solidFill>
                  <a:srgbClr val="333333"/>
                </a:solidFill>
                <a:effectLst/>
                <a:latin typeface="Arial"/>
                <a:cs typeface="Arial"/>
              </a:rPr>
              <a:t>, lower</a:t>
            </a:r>
            <a:r>
              <a:rPr lang="en-US" b="1">
                <a:solidFill>
                  <a:srgbClr val="333333"/>
                </a:solidFill>
                <a:latin typeface="Arial"/>
                <a:cs typeface="Arial"/>
              </a:rPr>
              <a:t> the </a:t>
            </a:r>
            <a:r>
              <a:rPr lang="en-US" b="1" i="0">
                <a:solidFill>
                  <a:srgbClr val="333333"/>
                </a:solidFill>
                <a:effectLst/>
                <a:latin typeface="Arial"/>
                <a:cs typeface="Arial"/>
              </a:rPr>
              <a:t>energy waste </a:t>
            </a:r>
            <a:r>
              <a:rPr lang="en-US" b="1">
                <a:solidFill>
                  <a:srgbClr val="333333"/>
                </a:solidFill>
                <a:latin typeface="Arial"/>
                <a:cs typeface="Arial"/>
              </a:rPr>
              <a:t>and ensure</a:t>
            </a:r>
            <a:r>
              <a:rPr lang="en-US" b="1" i="0">
                <a:solidFill>
                  <a:srgbClr val="333333"/>
                </a:solidFill>
                <a:effectLst/>
                <a:latin typeface="Arial"/>
                <a:cs typeface="Arial"/>
              </a:rPr>
              <a:t> compliancy</a:t>
            </a:r>
            <a:r>
              <a:rPr lang="en-US" b="1">
                <a:solidFill>
                  <a:srgbClr val="333333"/>
                </a:solidFill>
                <a:latin typeface="Arial"/>
                <a:cs typeface="Arial"/>
              </a:rPr>
              <a:t> without impacting your performance</a:t>
            </a:r>
            <a:endParaRPr lang="en-US" b="1" i="0">
              <a:solidFill>
                <a:srgbClr val="333333"/>
              </a:solidFill>
              <a:effectLst/>
              <a:latin typeface="Arial"/>
              <a:cs typeface="Arial"/>
            </a:endParaRPr>
          </a:p>
          <a:p>
            <a:endParaRPr lang="en-US" b="1">
              <a:solidFill>
                <a:srgbClr val="333333"/>
              </a:solidFill>
              <a:latin typeface="Arial"/>
              <a:cs typeface="Arial"/>
            </a:endParaRPr>
          </a:p>
          <a:p>
            <a:pPr algn="l"/>
            <a:endParaRPr lang="en-US" b="0" i="0">
              <a:solidFill>
                <a:srgbClr val="333333"/>
              </a:solidFill>
              <a:effectLst/>
              <a:latin typeface="Arial" panose="020B0604020202020204" pitchFamily="34" charset="0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97582002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Afbeelding 5" descr="Afbeelding met Lettertype, wit, ontwerp, Graphics&#10;&#10;Automatisch gegenereerde beschrijving">
            <a:extLst>
              <a:ext uri="{FF2B5EF4-FFF2-40B4-BE49-F238E27FC236}">
                <a16:creationId xmlns:a16="http://schemas.microsoft.com/office/drawing/2014/main" id="{44AB0654-9CE7-4C37-65FF-7C848A1FD47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779" t="40464" r="28000" b="40185"/>
          <a:stretch/>
        </p:blipFill>
        <p:spPr>
          <a:xfrm>
            <a:off x="8258629" y="167463"/>
            <a:ext cx="1725686" cy="434555"/>
          </a:xfrm>
          <a:prstGeom prst="rect">
            <a:avLst/>
          </a:prstGeom>
        </p:spPr>
      </p:pic>
      <p:pic>
        <p:nvPicPr>
          <p:cNvPr id="11" name="Afbeelding 10" descr="Afbeelding met Graphics, Lettertype, grafische vormgeving, symbool&#10;&#10;Automatisch gegenereerde beschrijving">
            <a:extLst>
              <a:ext uri="{FF2B5EF4-FFF2-40B4-BE49-F238E27FC236}">
                <a16:creationId xmlns:a16="http://schemas.microsoft.com/office/drawing/2014/main" id="{AD446D29-70D9-6DC9-B538-65FD4B49BED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167463"/>
            <a:ext cx="3713127" cy="5380074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2957310-FF8D-57E7-EC26-5E6505CA58AD}"/>
              </a:ext>
            </a:extLst>
          </p:cNvPr>
          <p:cNvSpPr txBox="1">
            <a:spLocks/>
          </p:cNvSpPr>
          <p:nvPr/>
        </p:nvSpPr>
        <p:spPr>
          <a:xfrm>
            <a:off x="6673700" y="1313543"/>
            <a:ext cx="3169858" cy="2563132"/>
          </a:xfrm>
          <a:prstGeom prst="rect">
            <a:avLst/>
          </a:prstGeom>
        </p:spPr>
        <p:txBody>
          <a:bodyPr vert="horz" wrap="square" lIns="0" tIns="0" rIns="0" bIns="0" rtlCol="0" anchor="t" anchorCtr="0">
            <a:normAutofit fontScale="97500"/>
          </a:bodyPr>
          <a:lstStyle>
            <a:lvl1pPr marL="0" algn="l" defTabSz="685800" rtl="0" eaLnBrk="1" latinLnBrk="0" hangingPunct="1">
              <a:spcBef>
                <a:spcPct val="0"/>
              </a:spcBef>
              <a:buNone/>
              <a:defRPr lang="en-US" sz="2400" b="0" kern="1200" cap="none" baseline="0" dirty="0">
                <a:solidFill>
                  <a:schemeClr val="tx1"/>
                </a:solidFill>
                <a:latin typeface="+mj-lt"/>
                <a:ea typeface="Cardo" panose="02020600000000000000" pitchFamily="18" charset="-79"/>
                <a:cs typeface="Cardo" panose="02020600000000000000" pitchFamily="18" charset="-79"/>
              </a:defRPr>
            </a:lvl1pPr>
          </a:lstStyle>
          <a:p>
            <a:pPr>
              <a:spcBef>
                <a:spcPts val="0"/>
              </a:spcBef>
            </a:pPr>
            <a:r>
              <a:rPr lang="en-GB" sz="1600">
                <a:latin typeface="+mn-lt"/>
                <a:ea typeface="Hind"/>
                <a:cs typeface="Hind"/>
                <a:sym typeface="Hind"/>
              </a:rPr>
              <a:t>		</a:t>
            </a:r>
            <a:br>
              <a:rPr lang="en-GB" sz="1600">
                <a:latin typeface="+mn-lt"/>
                <a:ea typeface="Hind"/>
                <a:cs typeface="Hind"/>
                <a:sym typeface="Hind"/>
              </a:rPr>
            </a:br>
            <a:br>
              <a:rPr lang="en-GB" sz="1600">
                <a:latin typeface="+mn-lt"/>
                <a:ea typeface="Hind"/>
                <a:cs typeface="Hind"/>
                <a:sym typeface="Hind"/>
              </a:rPr>
            </a:br>
            <a:br>
              <a:rPr lang="en-GB" sz="1600">
                <a:latin typeface="+mn-lt"/>
                <a:ea typeface="Hind"/>
                <a:cs typeface="Hind"/>
                <a:sym typeface="Hind"/>
              </a:rPr>
            </a:br>
            <a:r>
              <a:rPr lang="en-GB" sz="1600">
                <a:latin typeface="+mn-lt"/>
                <a:ea typeface="Hind"/>
                <a:cs typeface="Hind"/>
                <a:sym typeface="Hind"/>
              </a:rPr>
              <a:t>“It’s our mission to </a:t>
            </a:r>
            <a:r>
              <a:rPr lang="en-GB" sz="1600" b="1">
                <a:latin typeface="+mn-lt"/>
                <a:ea typeface="Hind"/>
                <a:cs typeface="Hind"/>
                <a:sym typeface="Hind"/>
              </a:rPr>
              <a:t>balance</a:t>
            </a:r>
            <a:r>
              <a:rPr lang="en-GB" sz="1600">
                <a:latin typeface="+mn-lt"/>
                <a:ea typeface="Hind"/>
                <a:cs typeface="Hind"/>
                <a:sym typeface="Hind"/>
              </a:rPr>
              <a:t> digitization needs with sustainability accountability, ultimately leading to </a:t>
            </a:r>
            <a:r>
              <a:rPr lang="en-GB" sz="1600" b="1">
                <a:latin typeface="+mn-lt"/>
                <a:ea typeface="Hind"/>
                <a:cs typeface="Hind"/>
                <a:sym typeface="Hind"/>
              </a:rPr>
              <a:t>zero waste</a:t>
            </a:r>
            <a:r>
              <a:rPr lang="en-GB" sz="1600">
                <a:latin typeface="+mn-lt"/>
                <a:ea typeface="Hind"/>
                <a:cs typeface="Hind"/>
                <a:sym typeface="Hind"/>
              </a:rPr>
              <a:t>.” </a:t>
            </a:r>
            <a:br>
              <a:rPr lang="en-GB" sz="1600" b="1">
                <a:latin typeface="+mn-lt"/>
                <a:ea typeface="Hind"/>
                <a:cs typeface="Hind"/>
                <a:sym typeface="Hind"/>
              </a:rPr>
            </a:br>
            <a:endParaRPr lang="en-GB" sz="1600" b="1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05581598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542D3A-CF8C-8B36-4932-50105B5FF2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84CC2EA-2675-D161-7615-C8EEE4FA16A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84CC2EA-2675-D161-7615-C8EEE4FA16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820822D-E693-2616-9269-4D0EEFC1DA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500" y="2447862"/>
            <a:ext cx="5488214" cy="861774"/>
          </a:xfrm>
        </p:spPr>
        <p:txBody>
          <a:bodyPr vert="horz" wrap="square" lIns="0" tIns="0" rIns="0" bIns="0" rtlCol="0" anchor="t" anchorCtr="0">
            <a:spAutoFit/>
          </a:bodyPr>
          <a:lstStyle/>
          <a:p>
            <a:pPr algn="l"/>
            <a:r>
              <a:rPr lang="en-IN">
                <a:cs typeface="Cardo"/>
              </a:rPr>
              <a:t>Check your avoidable waste and reduce the true price of data! </a:t>
            </a:r>
          </a:p>
        </p:txBody>
      </p:sp>
      <p:sp>
        <p:nvSpPr>
          <p:cNvPr id="5" name="Tekstvak 4">
            <a:extLst>
              <a:ext uri="{FF2B5EF4-FFF2-40B4-BE49-F238E27FC236}">
                <a16:creationId xmlns:a16="http://schemas.microsoft.com/office/drawing/2014/main" id="{D16F4EB3-A6EB-BF3C-68F4-B4E909DE0C23}"/>
              </a:ext>
            </a:extLst>
          </p:cNvPr>
          <p:cNvSpPr txBox="1"/>
          <p:nvPr/>
        </p:nvSpPr>
        <p:spPr>
          <a:xfrm>
            <a:off x="6747082" y="2072669"/>
            <a:ext cx="3272242" cy="203132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US" i="1">
                <a:solidFill>
                  <a:schemeClr val="bg1"/>
                </a:solidFill>
                <a:latin typeface="Hind"/>
                <a:ea typeface="Hind"/>
                <a:cs typeface="Hind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enno</a:t>
            </a:r>
            <a:r>
              <a:rPr lang="en-US" i="1">
                <a:solidFill>
                  <a:schemeClr val="bg1"/>
                </a:solidFill>
                <a:latin typeface="Hind"/>
                <a:ea typeface="Hind"/>
                <a:cs typeface="Hind"/>
                <a:sym typeface="Hind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@zirrow.nl</a:t>
            </a:r>
            <a:endParaRPr lang="nl-NL">
              <a:solidFill>
                <a:schemeClr val="bg1"/>
              </a:solidFill>
              <a:latin typeface="Nunito Sans"/>
              <a:ea typeface="Hind"/>
              <a:cs typeface="Hind"/>
              <a:hlinkClick r:id="rId5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  <a:p>
            <a:r>
              <a:rPr lang="en-US" i="1">
                <a:solidFill>
                  <a:schemeClr val="bg1"/>
                </a:solidFill>
                <a:latin typeface="Hind"/>
                <a:ea typeface="Hind"/>
                <a:cs typeface="Hind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ierre@zirrow.nl</a:t>
            </a:r>
          </a:p>
          <a:p>
            <a:r>
              <a:rPr lang="en-US" i="1">
                <a:solidFill>
                  <a:schemeClr val="bg1"/>
                </a:solidFill>
                <a:latin typeface="Hind"/>
                <a:ea typeface="Hind"/>
                <a:cs typeface="Hind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arco@zirrow.nl</a:t>
            </a:r>
          </a:p>
          <a:p>
            <a:r>
              <a:rPr lang="en-US" i="1">
                <a:solidFill>
                  <a:schemeClr val="bg1"/>
                </a:solidFill>
                <a:latin typeface="Hind"/>
                <a:ea typeface="Hind"/>
                <a:cs typeface="Hind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zirrow.nl</a:t>
            </a:r>
            <a:endParaRPr lang="en-US" i="1">
              <a:solidFill>
                <a:schemeClr val="bg1"/>
              </a:solidFill>
              <a:latin typeface="Hind"/>
              <a:ea typeface="Hind"/>
              <a:cs typeface="Hind"/>
            </a:endParaRPr>
          </a:p>
          <a:p>
            <a:endParaRPr lang="en-US" i="1">
              <a:solidFill>
                <a:schemeClr val="bg1"/>
              </a:solidFill>
              <a:latin typeface="Hind"/>
              <a:ea typeface="Hind"/>
              <a:cs typeface="Hind"/>
            </a:endParaRPr>
          </a:p>
          <a:p>
            <a:r>
              <a:rPr lang="en-US" i="1">
                <a:solidFill>
                  <a:schemeClr val="bg1"/>
                </a:solidFill>
                <a:latin typeface="Hind"/>
                <a:ea typeface="Hind"/>
                <a:cs typeface="Hind"/>
              </a:rPr>
              <a:t>Menno +31651474482</a:t>
            </a:r>
          </a:p>
          <a:p>
            <a:endParaRPr lang="en-US" i="1">
              <a:solidFill>
                <a:srgbClr val="434343"/>
              </a:solidFill>
              <a:latin typeface="Hind"/>
              <a:ea typeface="Hind"/>
              <a:cs typeface="Hind"/>
            </a:endParaRPr>
          </a:p>
        </p:txBody>
      </p:sp>
    </p:spTree>
    <p:extLst>
      <p:ext uri="{BB962C8B-B14F-4D97-AF65-F5344CB8AC3E}">
        <p14:creationId xmlns:p14="http://schemas.microsoft.com/office/powerpoint/2010/main" val="3052290647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D4DED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>
            <a:off x="9026145" y="5218890"/>
            <a:ext cx="903801" cy="314071"/>
          </a:xfrm>
          <a:custGeom>
            <a:avLst/>
            <a:gdLst/>
            <a:ahLst/>
            <a:cxnLst/>
            <a:rect l="l" t="t" r="r" b="b"/>
            <a:pathLst>
              <a:path w="1626842" h="565328">
                <a:moveTo>
                  <a:pt x="0" y="0"/>
                </a:moveTo>
                <a:lnTo>
                  <a:pt x="1626843" y="0"/>
                </a:lnTo>
                <a:lnTo>
                  <a:pt x="1626843" y="565328"/>
                </a:lnTo>
                <a:lnTo>
                  <a:pt x="0" y="565328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3975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7949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61924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15898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69873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23848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77822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31797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l-NL" sz="556"/>
          </a:p>
        </p:txBody>
      </p:sp>
      <p:sp>
        <p:nvSpPr>
          <p:cNvPr id="6" name="TextBox 6"/>
          <p:cNvSpPr txBox="1"/>
          <p:nvPr/>
        </p:nvSpPr>
        <p:spPr>
          <a:xfrm>
            <a:off x="2840408" y="3499885"/>
            <a:ext cx="4479184" cy="25699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3975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7949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61924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15898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69873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23848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77822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31797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2178"/>
              </a:lnSpc>
            </a:pPr>
            <a:r>
              <a:rPr lang="en-US" sz="1556" spc="78">
                <a:solidFill>
                  <a:srgbClr val="35744F"/>
                </a:solidFill>
                <a:latin typeface="Arial Bold"/>
              </a:rPr>
              <a:t>Nationale Coalitie Duurzame Digitalisering</a:t>
            </a:r>
          </a:p>
        </p:txBody>
      </p:sp>
      <p:sp>
        <p:nvSpPr>
          <p:cNvPr id="7" name="TextBox 7"/>
          <p:cNvSpPr txBox="1"/>
          <p:nvPr/>
        </p:nvSpPr>
        <p:spPr>
          <a:xfrm>
            <a:off x="2092166" y="2743530"/>
            <a:ext cx="5975667" cy="75661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3975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7949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61924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15898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69873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23848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77822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31797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5867"/>
              </a:lnSpc>
            </a:pPr>
            <a:r>
              <a:rPr lang="en-US" sz="6112">
                <a:solidFill>
                  <a:srgbClr val="35744F"/>
                </a:solidFill>
                <a:latin typeface="Arial Bold"/>
              </a:rPr>
              <a:t>THANK YOU</a:t>
            </a:r>
          </a:p>
        </p:txBody>
      </p:sp>
      <p:sp>
        <p:nvSpPr>
          <p:cNvPr id="8" name="Freeform 8"/>
          <p:cNvSpPr/>
          <p:nvPr/>
        </p:nvSpPr>
        <p:spPr>
          <a:xfrm>
            <a:off x="6427907" y="-21167"/>
            <a:ext cx="3774427" cy="3649583"/>
          </a:xfrm>
          <a:custGeom>
            <a:avLst/>
            <a:gdLst/>
            <a:ahLst/>
            <a:cxnLst/>
            <a:rect l="l" t="t" r="r" b="b"/>
            <a:pathLst>
              <a:path w="6793968" h="6569249">
                <a:moveTo>
                  <a:pt x="0" y="0"/>
                </a:moveTo>
                <a:lnTo>
                  <a:pt x="6793968" y="0"/>
                </a:lnTo>
                <a:lnTo>
                  <a:pt x="6793968" y="6569249"/>
                </a:lnTo>
                <a:lnTo>
                  <a:pt x="0" y="6569249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 l="-236826" b="-95923"/>
            </a:stretch>
          </a:blipFill>
        </p:spPr>
        <p:txBody>
          <a:bodyPr/>
          <a:lstStyle>
            <a:defPPr>
              <a:defRPr lang="en-US"/>
            </a:defPPr>
            <a:lvl1pPr marL="0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3975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7949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61924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15898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69873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23848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77822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31797" algn="l" defTabSz="507949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l-NL" sz="556"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A775FB-881F-EDB2-84CB-E05FDF871F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" name="Picture 2" descr="A screenshot of a computer&#10;&#10;Description automatically generated">
            <a:extLst>
              <a:ext uri="{FF2B5EF4-FFF2-40B4-BE49-F238E27FC236}">
                <a16:creationId xmlns:a16="http://schemas.microsoft.com/office/drawing/2014/main" id="{EAFA8671-E768-326C-DC72-E4AB96DDDBB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31864" y="644"/>
            <a:ext cx="10424653" cy="5732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430252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A775FB-881F-EDB2-84CB-E05FDF871F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" name="Picture 2" descr="A group of logos&#10;&#10;Description automatically generated">
            <a:extLst>
              <a:ext uri="{FF2B5EF4-FFF2-40B4-BE49-F238E27FC236}">
                <a16:creationId xmlns:a16="http://schemas.microsoft.com/office/drawing/2014/main" id="{33F46D62-51CF-BFB4-F990-BD3339ECD81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61940" y="-10709"/>
            <a:ext cx="10323592" cy="57620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650617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A775FB-881F-EDB2-84CB-E05FDF871F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" name="Picture 2" descr="A diagram of a product&#10;&#10;Description automatically generated">
            <a:extLst>
              <a:ext uri="{FF2B5EF4-FFF2-40B4-BE49-F238E27FC236}">
                <a16:creationId xmlns:a16="http://schemas.microsoft.com/office/drawing/2014/main" id="{924F22CC-54B8-5C72-21F2-ED9CE084C89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2152" y="2552"/>
            <a:ext cx="10201723" cy="5739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509756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B0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51" name="Tijdelijke aanduiding voor afbeelding 38"/>
          <p:cNvGrpSpPr/>
          <p:nvPr/>
        </p:nvGrpSpPr>
        <p:grpSpPr>
          <a:xfrm>
            <a:off x="4043721" y="0"/>
            <a:ext cx="6116278" cy="5715000"/>
            <a:chOff x="0" y="0"/>
            <a:chExt cx="7339532" cy="6858000"/>
          </a:xfrm>
        </p:grpSpPr>
        <p:sp>
          <p:nvSpPr>
            <p:cNvPr id="3149" name="Rectangle"/>
            <p:cNvSpPr/>
            <p:nvPr/>
          </p:nvSpPr>
          <p:spPr>
            <a:xfrm>
              <a:off x="0" y="0"/>
              <a:ext cx="7339533" cy="6858000"/>
            </a:xfrm>
            <a:prstGeom prst="rect">
              <a:avLst/>
            </a:prstGeom>
            <a:solidFill>
              <a:srgbClr val="F2F2F2">
                <a:alpha val="8000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38099" tIns="38099" rIns="38099" bIns="38099" numCol="1" anchor="ctr">
              <a:noAutofit/>
            </a:bodyPr>
            <a:lstStyle>
              <a:defPPr>
                <a:defRPr lang="en-US"/>
              </a:defPPr>
              <a:lvl1pPr marL="0" algn="l" defTabSz="761970" rtl="0" eaLnBrk="1" latinLnBrk="0" hangingPunct="1"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0985" algn="l" defTabSz="761970" rtl="0" eaLnBrk="1" latinLnBrk="0" hangingPunct="1"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61970" algn="l" defTabSz="761970" rtl="0" eaLnBrk="1" latinLnBrk="0" hangingPunct="1"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42954" algn="l" defTabSz="761970" rtl="0" eaLnBrk="1" latinLnBrk="0" hangingPunct="1"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23939" algn="l" defTabSz="761970" rtl="0" eaLnBrk="1" latinLnBrk="0" hangingPunct="1"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04924" algn="l" defTabSz="761970" rtl="0" eaLnBrk="1" latinLnBrk="0" hangingPunct="1"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85909" algn="l" defTabSz="761970" rtl="0" eaLnBrk="1" latinLnBrk="0" hangingPunct="1"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666893" algn="l" defTabSz="761970" rtl="0" eaLnBrk="1" latinLnBrk="0" hangingPunct="1"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047878" algn="l" defTabSz="761970" rtl="0" eaLnBrk="1" latinLnBrk="0" hangingPunct="1"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sz="1250"/>
            </a:p>
          </p:txBody>
        </p:sp>
        <p:pic>
          <p:nvPicPr>
            <p:cNvPr id="3150" name="image11.jpeg" descr="image11.jpeg"/>
            <p:cNvPicPr>
              <a:picLocks noChangeAspect="1"/>
            </p:cNvPicPr>
            <p:nvPr/>
          </p:nvPicPr>
          <p:blipFill>
            <a:blip r:embed="rId2"/>
            <a:srcRect t="32" b="32"/>
            <a:stretch>
              <a:fillRect/>
            </a:stretch>
          </p:blipFill>
          <p:spPr>
            <a:xfrm>
              <a:off x="0" y="-1"/>
              <a:ext cx="7339533" cy="6858002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  <p:sp>
        <p:nvSpPr>
          <p:cNvPr id="3152" name="Ondertitel 23"/>
          <p:cNvSpPr txBox="1">
            <a:spLocks noGrp="1"/>
          </p:cNvSpPr>
          <p:nvPr>
            <p:ph type="body" sz="quarter" idx="1"/>
          </p:nvPr>
        </p:nvSpPr>
        <p:spPr>
          <a:xfrm>
            <a:off x="528167" y="4015685"/>
            <a:ext cx="3107669" cy="207061"/>
          </a:xfrm>
          <a:prstGeom prst="rect">
            <a:avLst/>
          </a:prstGeom>
        </p:spPr>
        <p:txBody>
          <a:bodyPr>
            <a:noAutofit/>
          </a:bodyPr>
          <a:lstStyle>
            <a:defPPr>
              <a:defRPr lang="en-US"/>
            </a:defPPr>
            <a:lvl1pPr marL="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0985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6197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295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2393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492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8590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66893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47878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500" err="1">
                <a:solidFill>
                  <a:schemeClr val="bg1"/>
                </a:solidFill>
                <a:latin typeface="Arial Bold"/>
                <a:cs typeface="Arial Bold"/>
              </a:rPr>
              <a:t>Dr.</a:t>
            </a:r>
            <a:r>
              <a:rPr lang="en-GB" sz="1500">
                <a:solidFill>
                  <a:schemeClr val="bg1"/>
                </a:solidFill>
                <a:latin typeface="Arial Bold"/>
                <a:cs typeface="Arial Bold"/>
              </a:rPr>
              <a:t> Anelia </a:t>
            </a:r>
            <a:r>
              <a:rPr lang="en-GB" sz="1500" err="1">
                <a:solidFill>
                  <a:schemeClr val="bg1"/>
                </a:solidFill>
                <a:latin typeface="Arial Bold"/>
                <a:cs typeface="Arial Bold"/>
              </a:rPr>
              <a:t>Kurteva</a:t>
            </a:r>
            <a:endParaRPr sz="1500">
              <a:solidFill>
                <a:schemeClr val="bg1"/>
              </a:solidFill>
              <a:latin typeface="Arial Bold"/>
              <a:cs typeface="Arial Bold"/>
            </a:endParaRPr>
          </a:p>
        </p:txBody>
      </p:sp>
      <p:sp>
        <p:nvSpPr>
          <p:cNvPr id="3153" name="Tijdelijke aanduiding voor tekst 18"/>
          <p:cNvSpPr>
            <a:spLocks noGrp="1"/>
          </p:cNvSpPr>
          <p:nvPr>
            <p:ph type="body" sz="quarter" idx="22"/>
          </p:nvPr>
        </p:nvSpPr>
        <p:spPr>
          <a:xfrm>
            <a:off x="510396" y="1434493"/>
            <a:ext cx="3256473" cy="2437836"/>
          </a:xfrm>
          <a:prstGeom prst="rect">
            <a:avLst/>
          </a:prstGeom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>
            <a:noAutofit/>
          </a:bodyPr>
          <a:lstStyle>
            <a:defPPr>
              <a:defRPr lang="en-US"/>
            </a:defPPr>
            <a:lvl1pPr marL="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0985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61970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295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2393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4924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85909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66893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47878" algn="l" defTabSz="761970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800">
                <a:solidFill>
                  <a:srgbClr val="FFFFFF"/>
                </a:solidFill>
                <a:latin typeface="Arial Bold"/>
                <a:cs typeface="Arial Bold"/>
              </a:rPr>
              <a:t>Towards FAIR Digital Product Passports of ICT with the </a:t>
            </a:r>
            <a:r>
              <a:rPr lang="en-GB" sz="2800" err="1">
                <a:solidFill>
                  <a:srgbClr val="FFFFFF"/>
                </a:solidFill>
                <a:latin typeface="Arial Bold"/>
                <a:cs typeface="Arial Bold"/>
              </a:rPr>
              <a:t>RePlanIT</a:t>
            </a:r>
            <a:r>
              <a:rPr lang="en-GB" sz="2800">
                <a:solidFill>
                  <a:srgbClr val="FFFFFF"/>
                </a:solidFill>
                <a:latin typeface="Arial Bold"/>
                <a:cs typeface="Arial Bold"/>
              </a:rPr>
              <a:t> Ontology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push dir="u"/>
      </p:transition>
    </mc:Choice>
    <mc:Fallback xmlns="">
      <p:transition spd="slow">
        <p:push dir="u"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066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6&quot;&gt;&lt;elem m_fUsage=&quot;1.34144100000000010000E+000&quot;&gt;&lt;m_ppcolschidx val=&quot;0&quot;/&gt;&lt;m_rgb r=&quot;7d&quot; g=&quot;c3&quot; b=&quot;c8&quot;/&gt;&lt;/elem&gt;&lt;elem m_fUsage=&quot;1.20729690000000020000E+000&quot;&gt;&lt;m_ppcolschidx val=&quot;0&quot;/&gt;&lt;m_rgb r=&quot;8a&quot; g=&quot;c3&quot; b=&quot;97&quot;/&gt;&lt;/elem&gt;&lt;elem m_fUsage=&quot;1.00000000000000000000E+000&quot;&gt;&lt;m_ppcolschidx val=&quot;0&quot;/&gt;&lt;m_rgb r=&quot;2a&quot; g=&quot;a7&quot; b=&quot;df&quot;/&gt;&lt;/elem&gt;&lt;elem m_fUsage=&quot;9.00000000000000020000E-001&quot;&gt;&lt;m_ppcolschidx val=&quot;0&quot;/&gt;&lt;m_rgb r=&quot;1c&quot; g=&quot;77&quot; b=&quot;bb&quot;/&gt;&lt;/elem&gt;&lt;elem m_fUsage=&quot;6.56100000000000130000E-001&quot;&gt;&lt;m_ppcolschidx val=&quot;0&quot;/&gt;&lt;m_rgb r=&quot;39&quot; g=&quot;7e&quot; b=&quot;7a&quot;/&gt;&lt;/elem&gt;&lt;elem m_fUsage=&quot;5.90490000000000180000E-001&quot;&gt;&lt;m_ppcolschidx val=&quot;0&quot;/&gt;&lt;m_rgb r=&quot;d9&quot; g=&quot;d9&quot; b=&quot;d9&quot;/&gt;&lt;/elem&gt;&lt;/m_vecMRU&gt;&lt;/m_mruColor&gt;&lt;m_mapectfillschemeMRU/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0"/>
  <p:tag name="ISNEWSLIDENUMBER" val="False"/>
  <p:tag name="PREVIOUSNAME" val="D:\S4U\Jobs\Feb 2024\27.02\20240227-1041\Pitchdeck SPP - short(VERSION 2)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1ANir0SkCu2mMNZVgJ7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azSLfFtUaA9ZruvWKSY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1ANir0SkCu2mMNZVgJ7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azSLfFtUaA9ZruvWKSY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DQnCbmW0SsJ_QDGBWuo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JTFGznZEGpz0.NoMILr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qlP8oy3k2XBiAEuB_rC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bi0RGXLU6cp8muOBq6W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DQnCbmW0SsJ_QDGBWuo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JTFGznZEGpz0.NoMILr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bi0RGXLU6cp8muOBq6W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qlP8oy3k2XBiAEuB_rC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bi0RGXLU6cp8muOBq6W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DQnCbmW0SsJ_QDGBWuo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DQnCbmW0SsJ_QDGBWuo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3G3kVi4IEWZJjwp5CQF_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JTFGznZEGpz0.NoMILr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JTFGznZEGpz0.NoMILr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JTFGznZEGpz0.NoMILr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JTFGznZEGpz0.NoMILr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DQnCbmW0SsJ_QDGBWuo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.bZWXF3UShf_5MgA0WY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DQnCbmW0SsJ_QDGBWuo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qlP8oy3k2XBiAEuB_rC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hUTjpRP.Eu8HYX3E3OEe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3kGNid4EyadSpW15vvl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DQnCbmW0SsJ_QDGBWuo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DQnCbmW0SsJ_QDGBWuo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qlP8oy3k2XBiAEuB_rC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JTFGznZEGpz0.NoMILr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1ANir0SkCu2mMNZVgJ7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bi0RGXLU6cp8muOBq6W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DQnCbmW0SsJ_QDGBWuo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DQnCbmW0SsJ_QDGBWuo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qlP8oy3k2XBiAEuB_rC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JTFGznZEGpz0.NoMILr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JTFGznZEGpz0.NoMILr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bi0RGXLU6cp8muOBq6W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DQnCbmW0SsJ_QDGBWuo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DQnCbmW0SsJ_QDGBWuo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azSLfFtUaA9ZruvWKSY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qlP8oy3k2XBiAEuB_rC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JTFGznZEGpz0.NoMILr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1ANir0SkCu2mMNZVgJ7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azSLfFtUaA9ZruvWKSYQ"/>
</p:tagLst>
</file>

<file path=ppt/theme/theme1.xml><?xml version="1.0" encoding="utf-8"?>
<a:theme xmlns:a="http://schemas.openxmlformats.org/drawingml/2006/main" name="1_Office Theme">
  <a:themeElements>
    <a:clrScheme name="Custom 7">
      <a:dk1>
        <a:srgbClr val="23282F"/>
      </a:dk1>
      <a:lt1>
        <a:srgbClr val="FFFFFF"/>
      </a:lt1>
      <a:dk2>
        <a:srgbClr val="23282F"/>
      </a:dk2>
      <a:lt2>
        <a:srgbClr val="D5D5D5"/>
      </a:lt2>
      <a:accent1>
        <a:srgbClr val="2C9880"/>
      </a:accent1>
      <a:accent2>
        <a:srgbClr val="232528"/>
      </a:accent2>
      <a:accent3>
        <a:srgbClr val="E08D14"/>
      </a:accent3>
      <a:accent4>
        <a:srgbClr val="5FBFF9"/>
      </a:accent4>
      <a:accent5>
        <a:srgbClr val="D6EDFF"/>
      </a:accent5>
      <a:accent6>
        <a:srgbClr val="9C3848"/>
      </a:accent6>
      <a:hlink>
        <a:srgbClr val="F25F5C"/>
      </a:hlink>
      <a:folHlink>
        <a:srgbClr val="FF00FF"/>
      </a:folHlink>
    </a:clrScheme>
    <a:fontScheme name="Custom 39">
      <a:majorFont>
        <a:latin typeface="Nunito Sans SemiBold"/>
        <a:ea typeface=""/>
        <a:cs typeface=""/>
      </a:majorFont>
      <a:minorFont>
        <a:latin typeface="Nunito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Tuuring-Temp_16_9.potx" id="{7643F3E9-00A6-4768-AB50-B44C71AB8C02}" vid="{A922076B-D533-429E-A32A-3B097455528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5e9da69e-9e9b-4407-8f90-7085e49adebd" xsi:nil="true"/>
    <lcf76f155ced4ddcb4097134ff3c332f xmlns="fd4b43dc-e565-4e85-8b43-88d30f60ec94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91F3438B5631F44BE1AD6B1A0848B46" ma:contentTypeVersion="15" ma:contentTypeDescription="Een nieuw document maken." ma:contentTypeScope="" ma:versionID="8d8149e16760ead2c2f4382631887398">
  <xsd:schema xmlns:xsd="http://www.w3.org/2001/XMLSchema" xmlns:xs="http://www.w3.org/2001/XMLSchema" xmlns:p="http://schemas.microsoft.com/office/2006/metadata/properties" xmlns:ns2="fd4b43dc-e565-4e85-8b43-88d30f60ec94" xmlns:ns3="5e9da69e-9e9b-4407-8f90-7085e49adebd" targetNamespace="http://schemas.microsoft.com/office/2006/metadata/properties" ma:root="true" ma:fieldsID="160e588d026d84e2faf54396ef48b25b" ns2:_="" ns3:_="">
    <xsd:import namespace="fd4b43dc-e565-4e85-8b43-88d30f60ec94"/>
    <xsd:import namespace="5e9da69e-9e9b-4407-8f90-7085e49adeb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Location" minOccurs="0"/>
                <xsd:element ref="ns2:MediaServiceObjectDetectorVersions" minOccurs="0"/>
                <xsd:element ref="ns2:MediaServiceSearchPropertie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4b43dc-e565-4e85-8b43-88d30f60ec9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Afbeeldingtags" ma:readOnly="false" ma:fieldId="{5cf76f15-5ced-4ddc-b409-7134ff3c332f}" ma:taxonomyMulti="true" ma:sspId="4fcdf52e-46df-449b-b284-70e2acc7bb4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9" nillable="true" ma:displayName="Location" ma:indexed="true" ma:internalName="MediaServiceLocation" ma:readOnly="true">
      <xsd:simpleType>
        <xsd:restriction base="dms:Text"/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LengthInSeconds" ma:index="22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e9da69e-9e9b-4407-8f90-7085e49adebd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375affa2-26f4-47d3-aed5-b01025b52fad}" ma:internalName="TaxCatchAll" ma:showField="CatchAllData" ma:web="5e9da69e-9e9b-4407-8f90-7085e49adeb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Gedeeld met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Gedeeld met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ou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537722E-F2A6-42E0-94C8-5CC0839E0FA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6707679-6FA4-4670-9398-9635551ABED9}">
  <ds:schemaRefs>
    <ds:schemaRef ds:uri="2e6b9786-b2a3-4b4c-b3ac-6aef69a17de7"/>
    <ds:schemaRef ds:uri="5e9da69e-9e9b-4407-8f90-7085e49adebd"/>
    <ds:schemaRef ds:uri="e4218500-7748-4770-913d-10b362cc5d18"/>
    <ds:schemaRef ds:uri="e8ea928b-431d-4a26-b552-9f798f1fc61f"/>
    <ds:schemaRef ds:uri="edb895c0-46e5-4d2b-a705-0db6e1d399d1"/>
    <ds:schemaRef ds:uri="fd4b43dc-e565-4e85-8b43-88d30f60ec94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E0AE94AE-EDD3-486E-8DDD-BF79C77116D4}">
  <ds:schemaRefs>
    <ds:schemaRef ds:uri="5e9da69e-9e9b-4407-8f90-7085e49adebd"/>
    <ds:schemaRef ds:uri="fd4b43dc-e565-4e85-8b43-88d30f60ec9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uuring-Temp_16_9</Template>
  <Application>Microsoft Office PowerPoint</Application>
  <PresentationFormat>Custom</PresentationFormat>
  <Slides>53</Slides>
  <Notes>5</Notes>
  <HiddenSlides>1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53</vt:i4>
      </vt:variant>
    </vt:vector>
  </HeadingPairs>
  <TitlesOfParts>
    <vt:vector size="54" baseType="lpstr">
      <vt:lpstr>1_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e RePlanIT Technology Foundations</vt:lpstr>
      <vt:lpstr>PowerPoint Presentation</vt:lpstr>
      <vt:lpstr>Building FAIR DPPs of ICT with Ontologies and Knowledge Graphs</vt:lpstr>
      <vt:lpstr>PowerPoint Presentation</vt:lpstr>
      <vt:lpstr>The RePlanIT Ontology for ICT DPPs: Laptops and Data Server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e RePlanIT Knowledge Graph and APIs</vt:lpstr>
      <vt:lpstr>Applications of the DPPs: Opportunity for predictive maintenance</vt:lpstr>
      <vt:lpstr>Applications of the DPPs: Opportunity for predictive maintenance</vt:lpstr>
      <vt:lpstr>Application of the DPPs: Findings</vt:lpstr>
      <vt:lpstr>PowerPoint Presentation</vt:lpstr>
      <vt:lpstr>Future Directions</vt:lpstr>
      <vt:lpstr>Thank you!</vt:lpstr>
      <vt:lpstr>PowerPoint Presentation</vt:lpstr>
      <vt:lpstr>PowerPoint Presentation</vt:lpstr>
      <vt:lpstr>PowerPoint Presentation</vt:lpstr>
      <vt:lpstr>Replan IT </vt:lpstr>
      <vt:lpstr>TRIGGERS TAKING A BROADER LOOK AT THE TRUE PRICE OF DATA needed for informed decision making?</vt:lpstr>
      <vt:lpstr>Datacenters consume significant amounts of energy</vt:lpstr>
      <vt:lpstr>…while data usage will keep on growing</vt:lpstr>
      <vt:lpstr>…creating multiple challenges to keep IT growth under control  </vt:lpstr>
      <vt:lpstr>(CSRD) INTEGRATED REPORTING FIRST EXAMPLES</vt:lpstr>
      <vt:lpstr>KPN 100% SUSTAINABLE IN 2030, BUT HOW? DATA KEEPS ON GROWING </vt:lpstr>
      <vt:lpstr>OPPORTUNITY TIME FOR GREEN IT SOLUTIONS</vt:lpstr>
      <vt:lpstr>PowerPoint Presentation</vt:lpstr>
      <vt:lpstr>Introducing Smart Power &amp; Performance  by Zirrow</vt:lpstr>
      <vt:lpstr>The problem</vt:lpstr>
      <vt:lpstr>Efficiency should be key,  yet currently we see up to 40% energy waste</vt:lpstr>
      <vt:lpstr>Save energy, save money, save co2 just do it?!</vt:lpstr>
      <vt:lpstr>Why is it so hard to balance? </vt:lpstr>
      <vt:lpstr>Our solution</vt:lpstr>
      <vt:lpstr>The solution we offer to our customers</vt:lpstr>
      <vt:lpstr>First, we scan</vt:lpstr>
      <vt:lpstr>Then we validate</vt:lpstr>
      <vt:lpstr>With reporting power</vt:lpstr>
      <vt:lpstr>Giving our users control</vt:lpstr>
      <vt:lpstr>A strong value case for heavy data users</vt:lpstr>
      <vt:lpstr>PowerPoint Presentation</vt:lpstr>
      <vt:lpstr>Check your avoidable waste and reduce the true price of data! 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Zirrow Pitchdeck</dc:title>
  <dc:creator>Menno; Pierre</dc:creator>
  <cp:revision>15</cp:revision>
  <cp:lastPrinted>2024-03-03T11:50:38Z</cp:lastPrinted>
  <dcterms:created xsi:type="dcterms:W3CDTF">2020-10-28T04:46:16Z</dcterms:created>
  <dcterms:modified xsi:type="dcterms:W3CDTF">2024-07-08T10:51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91F3438B5631F44BE1AD6B1A0848B46</vt:lpwstr>
  </property>
  <property fmtid="{D5CDD505-2E9C-101B-9397-08002B2CF9AE}" pid="3" name="MediaServiceImageTags">
    <vt:lpwstr/>
  </property>
</Properties>
</file>